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41"/>
  </p:notesMasterIdLst>
  <p:handoutMasterIdLst>
    <p:handoutMasterId r:id="rId42"/>
  </p:handoutMasterIdLst>
  <p:sldIdLst>
    <p:sldId id="300" r:id="rId5"/>
    <p:sldId id="398" r:id="rId6"/>
    <p:sldId id="369" r:id="rId7"/>
    <p:sldId id="358" r:id="rId8"/>
    <p:sldId id="348" r:id="rId9"/>
    <p:sldId id="327" r:id="rId10"/>
    <p:sldId id="401" r:id="rId11"/>
    <p:sldId id="368" r:id="rId12"/>
    <p:sldId id="365" r:id="rId13"/>
    <p:sldId id="400" r:id="rId14"/>
    <p:sldId id="366" r:id="rId15"/>
    <p:sldId id="371" r:id="rId16"/>
    <p:sldId id="399" r:id="rId17"/>
    <p:sldId id="376" r:id="rId18"/>
    <p:sldId id="396" r:id="rId19"/>
    <p:sldId id="395" r:id="rId20"/>
    <p:sldId id="377" r:id="rId21"/>
    <p:sldId id="405" r:id="rId22"/>
    <p:sldId id="379" r:id="rId23"/>
    <p:sldId id="383" r:id="rId24"/>
    <p:sldId id="403" r:id="rId25"/>
    <p:sldId id="381" r:id="rId26"/>
    <p:sldId id="397" r:id="rId27"/>
    <p:sldId id="393" r:id="rId28"/>
    <p:sldId id="386" r:id="rId29"/>
    <p:sldId id="387" r:id="rId30"/>
    <p:sldId id="394" r:id="rId31"/>
    <p:sldId id="391" r:id="rId32"/>
    <p:sldId id="402" r:id="rId33"/>
    <p:sldId id="406" r:id="rId34"/>
    <p:sldId id="384" r:id="rId35"/>
    <p:sldId id="385" r:id="rId36"/>
    <p:sldId id="407" r:id="rId37"/>
    <p:sldId id="408" r:id="rId38"/>
    <p:sldId id="357" r:id="rId39"/>
    <p:sldId id="323" r:id="rId40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E591EAE-79F2-4C0D-BB48-F5315E7BBDC1}">
          <p14:sldIdLst>
            <p14:sldId id="300"/>
            <p14:sldId id="398"/>
          </p14:sldIdLst>
        </p14:section>
        <p14:section name="Brief Introduction" id="{B015F7FF-C70A-4E71-86C6-85EAB184AE49}">
          <p14:sldIdLst>
            <p14:sldId id="369"/>
            <p14:sldId id="358"/>
            <p14:sldId id="348"/>
            <p14:sldId id="327"/>
            <p14:sldId id="401"/>
          </p14:sldIdLst>
        </p14:section>
        <p14:section name="Why OWASP ASVS?" id="{2219A748-2D71-4867-9C20-F68C56F57FCF}">
          <p14:sldIdLst>
            <p14:sldId id="368"/>
            <p14:sldId id="365"/>
            <p14:sldId id="400"/>
            <p14:sldId id="366"/>
            <p14:sldId id="371"/>
            <p14:sldId id="399"/>
            <p14:sldId id="376"/>
            <p14:sldId id="396"/>
            <p14:sldId id="395"/>
            <p14:sldId id="377"/>
            <p14:sldId id="405"/>
            <p14:sldId id="379"/>
            <p14:sldId id="383"/>
            <p14:sldId id="403"/>
            <p14:sldId id="381"/>
            <p14:sldId id="397"/>
            <p14:sldId id="393"/>
            <p14:sldId id="386"/>
            <p14:sldId id="387"/>
            <p14:sldId id="394"/>
            <p14:sldId id="391"/>
            <p14:sldId id="402"/>
            <p14:sldId id="406"/>
            <p14:sldId id="384"/>
            <p14:sldId id="385"/>
            <p14:sldId id="407"/>
            <p14:sldId id="408"/>
            <p14:sldId id="357"/>
            <p14:sldId id="323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2882">
          <p15:clr>
            <a:srgbClr val="A4A3A4"/>
          </p15:clr>
        </p15:guide>
        <p15:guide id="4" orient="horz" pos="236">
          <p15:clr>
            <a:srgbClr val="A4A3A4"/>
          </p15:clr>
        </p15:guide>
        <p15:guide id="5" pos="340">
          <p15:clr>
            <a:srgbClr val="A4A3A4"/>
          </p15:clr>
        </p15:guide>
        <p15:guide id="6" pos="54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eksandr Kazymyrov" initials="OK" lastIdx="4" clrIdx="0">
    <p:extLst>
      <p:ext uri="{19B8F6BF-5375-455C-9EA6-DF929625EA0E}">
        <p15:presenceInfo xmlns:p15="http://schemas.microsoft.com/office/powerpoint/2012/main" userId="S-1-5-21-2260138498-4060367035-145193042-11133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CC"/>
    <a:srgbClr val="063954"/>
    <a:srgbClr val="E6EBEE"/>
    <a:srgbClr val="6988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06" autoAdjust="0"/>
    <p:restoredTop sz="94434" autoAdjust="0"/>
  </p:normalViewPr>
  <p:slideViewPr>
    <p:cSldViewPr snapToGrid="0">
      <p:cViewPr varScale="1">
        <p:scale>
          <a:sx n="108" d="100"/>
          <a:sy n="108" d="100"/>
        </p:scale>
        <p:origin x="533" y="82"/>
      </p:cViewPr>
      <p:guideLst>
        <p:guide orient="horz" pos="2882"/>
        <p:guide orient="horz" pos="236"/>
        <p:guide pos="340"/>
        <p:guide pos="542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1" d="100"/>
          <a:sy n="91" d="100"/>
        </p:scale>
        <p:origin x="356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commentAuthors" Target="commentAuthors.xml"/></Relationships>
</file>

<file path=ppt/diagrams/_rels/data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image" Target="../media/image33.png"/></Relationships>
</file>

<file path=ppt/diagrams/_rels/data6.xml.rels><?xml version="1.0" encoding="UTF-8" standalone="yes"?>
<Relationships xmlns="http://schemas.openxmlformats.org/package/2006/relationships"><Relationship Id="rId1" Type="http://schemas.openxmlformats.org/officeDocument/2006/relationships/image" Target="../media/image35.png"/></Relationships>
</file>

<file path=ppt/diagrams/_rels/drawing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image" Target="../media/image33.png"/></Relationships>
</file>

<file path=ppt/diagrams/_rels/drawing6.xml.rels><?xml version="1.0" encoding="UTF-8" standalone="yes"?>
<Relationships xmlns="http://schemas.openxmlformats.org/package/2006/relationships"><Relationship Id="rId1" Type="http://schemas.openxmlformats.org/officeDocument/2006/relationships/image" Target="../media/image3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F648DB2-2726-4FC3-8781-15AD928AAA19}" type="doc">
      <dgm:prSet loTypeId="urn:microsoft.com/office/officeart/2005/8/layout/hierarchy3" loCatId="list" qsTypeId="urn:microsoft.com/office/officeart/2005/8/quickstyle/simple1" qsCatId="simple" csTypeId="urn:microsoft.com/office/officeart/2005/8/colors/colorful4" csCatId="colorful" phldr="1"/>
      <dgm:spPr/>
    </dgm:pt>
    <dgm:pt modelId="{8E6E57C1-AB10-4AE5-9B80-D49D2061AC72}">
      <dgm:prSet phldrT="[Text]"/>
      <dgm:spPr/>
      <dgm:t>
        <a:bodyPr/>
        <a:lstStyle/>
        <a:p>
          <a:r>
            <a:rPr lang="en-US" dirty="0"/>
            <a:t>Education</a:t>
          </a:r>
        </a:p>
      </dgm:t>
    </dgm:pt>
    <dgm:pt modelId="{CB7029A0-FE4D-470D-9DCF-0628DAE3261D}" type="parTrans" cxnId="{19D637C0-70C0-4755-A032-B4C0A551D0DB}">
      <dgm:prSet/>
      <dgm:spPr/>
      <dgm:t>
        <a:bodyPr/>
        <a:lstStyle/>
        <a:p>
          <a:endParaRPr lang="en-US"/>
        </a:p>
      </dgm:t>
    </dgm:pt>
    <dgm:pt modelId="{E3511D27-C95B-4027-A4D9-1038E296344B}" type="sibTrans" cxnId="{19D637C0-70C0-4755-A032-B4C0A551D0DB}">
      <dgm:prSet/>
      <dgm:spPr/>
      <dgm:t>
        <a:bodyPr/>
        <a:lstStyle/>
        <a:p>
          <a:endParaRPr lang="en-US"/>
        </a:p>
      </dgm:t>
    </dgm:pt>
    <dgm:pt modelId="{BDC684C0-5F82-420C-8139-338DE1FE3BAA}">
      <dgm:prSet phldrT="[Text]"/>
      <dgm:spPr/>
      <dgm:t>
        <a:bodyPr/>
        <a:lstStyle/>
        <a:p>
          <a:r>
            <a:rPr lang="en-US" dirty="0"/>
            <a:t>Job</a:t>
          </a:r>
        </a:p>
      </dgm:t>
    </dgm:pt>
    <dgm:pt modelId="{BB4ACF87-5C76-417F-8A12-7A33D2A3BE0A}" type="parTrans" cxnId="{7C2DD4A9-EE48-417B-9871-1F2D8DBEF465}">
      <dgm:prSet/>
      <dgm:spPr/>
      <dgm:t>
        <a:bodyPr/>
        <a:lstStyle/>
        <a:p>
          <a:endParaRPr lang="en-US"/>
        </a:p>
      </dgm:t>
    </dgm:pt>
    <dgm:pt modelId="{EF48D5C8-9B06-4701-AB91-3D7B0D26BCD5}" type="sibTrans" cxnId="{7C2DD4A9-EE48-417B-9871-1F2D8DBEF465}">
      <dgm:prSet/>
      <dgm:spPr/>
      <dgm:t>
        <a:bodyPr/>
        <a:lstStyle/>
        <a:p>
          <a:endParaRPr lang="en-US"/>
        </a:p>
      </dgm:t>
    </dgm:pt>
    <dgm:pt modelId="{E3CE09D6-6DED-49E6-A725-86063D42440E}">
      <dgm:prSet phldrT="[Text]"/>
      <dgm:spPr/>
      <dgm:t>
        <a:bodyPr/>
        <a:lstStyle/>
        <a:p>
          <a:r>
            <a:rPr lang="en-US" dirty="0"/>
            <a:t>Technical Test Analyst at EVRY</a:t>
          </a:r>
        </a:p>
      </dgm:t>
    </dgm:pt>
    <dgm:pt modelId="{7C5588C4-A20A-4E44-A537-4803EFFE788B}" type="parTrans" cxnId="{EF3CF166-B39F-4BC9-B9BD-664B29F8F48C}">
      <dgm:prSet/>
      <dgm:spPr/>
      <dgm:t>
        <a:bodyPr/>
        <a:lstStyle/>
        <a:p>
          <a:endParaRPr lang="en-US"/>
        </a:p>
      </dgm:t>
    </dgm:pt>
    <dgm:pt modelId="{37D45D21-23A4-45FD-A54B-19CA1B6B41AA}" type="sibTrans" cxnId="{EF3CF166-B39F-4BC9-B9BD-664B29F8F48C}">
      <dgm:prSet/>
      <dgm:spPr/>
      <dgm:t>
        <a:bodyPr/>
        <a:lstStyle/>
        <a:p>
          <a:endParaRPr lang="en-US"/>
        </a:p>
      </dgm:t>
    </dgm:pt>
    <dgm:pt modelId="{3982C2E9-91B4-432E-9730-9A71BA25E29A}">
      <dgm:prSet phldrT="[Text]"/>
      <dgm:spPr/>
      <dgm:t>
        <a:bodyPr/>
        <a:lstStyle/>
        <a:p>
          <a:r>
            <a:rPr lang="en-US" dirty="0"/>
            <a:t>Candidate of Engineering Sciences in Information Security</a:t>
          </a:r>
        </a:p>
        <a:p>
          <a:r>
            <a:rPr lang="en-US" dirty="0"/>
            <a:t>KHNURE, Ukraine</a:t>
          </a:r>
        </a:p>
      </dgm:t>
    </dgm:pt>
    <dgm:pt modelId="{29CCD4BB-A71C-4394-9785-01A18F9AB274}" type="parTrans" cxnId="{5C0A8412-0C38-44C0-A7DA-98EDB304E7B0}">
      <dgm:prSet/>
      <dgm:spPr/>
      <dgm:t>
        <a:bodyPr/>
        <a:lstStyle/>
        <a:p>
          <a:endParaRPr lang="en-US"/>
        </a:p>
      </dgm:t>
    </dgm:pt>
    <dgm:pt modelId="{FF1FA529-D328-4F1D-BBF3-D28399567E49}" type="sibTrans" cxnId="{5C0A8412-0C38-44C0-A7DA-98EDB304E7B0}">
      <dgm:prSet/>
      <dgm:spPr/>
      <dgm:t>
        <a:bodyPr/>
        <a:lstStyle/>
        <a:p>
          <a:endParaRPr lang="en-US"/>
        </a:p>
      </dgm:t>
    </dgm:pt>
    <dgm:pt modelId="{547D1625-2FC3-418D-B222-475FE57C939D}">
      <dgm:prSet/>
      <dgm:spPr/>
      <dgm:t>
        <a:bodyPr/>
        <a:lstStyle/>
        <a:p>
          <a:r>
            <a:rPr lang="en-US" dirty="0"/>
            <a:t>Ph.D. in Cryptology</a:t>
          </a:r>
        </a:p>
        <a:p>
          <a:r>
            <a:rPr lang="en-US" dirty="0"/>
            <a:t>University of Bergen, Norway</a:t>
          </a:r>
        </a:p>
      </dgm:t>
    </dgm:pt>
    <dgm:pt modelId="{6D95A681-9A43-4A9E-AFCA-8FE876D231D6}" type="parTrans" cxnId="{2B671DFC-00D3-4702-ADE6-4046218C9A88}">
      <dgm:prSet/>
      <dgm:spPr/>
      <dgm:t>
        <a:bodyPr/>
        <a:lstStyle/>
        <a:p>
          <a:endParaRPr lang="en-US"/>
        </a:p>
      </dgm:t>
    </dgm:pt>
    <dgm:pt modelId="{9C0BFE5E-8B55-4814-888F-5F53E7EA0BB7}" type="sibTrans" cxnId="{2B671DFC-00D3-4702-ADE6-4046218C9A88}">
      <dgm:prSet/>
      <dgm:spPr/>
      <dgm:t>
        <a:bodyPr/>
        <a:lstStyle/>
        <a:p>
          <a:endParaRPr lang="en-US"/>
        </a:p>
      </dgm:t>
    </dgm:pt>
    <dgm:pt modelId="{D011ABB8-65A9-4113-AD76-ABFF95D96AB5}">
      <dgm:prSet phldrT="[Text]"/>
      <dgm:spPr/>
      <dgm:t>
        <a:bodyPr/>
        <a:lstStyle/>
        <a:p>
          <a:r>
            <a:rPr lang="en-US" dirty="0"/>
            <a:t>Other</a:t>
          </a:r>
        </a:p>
      </dgm:t>
    </dgm:pt>
    <dgm:pt modelId="{B11E8E61-CECE-4515-9E84-D252CC85C62F}" type="parTrans" cxnId="{E6852E12-4954-4F76-B180-999F57E3B96D}">
      <dgm:prSet/>
      <dgm:spPr/>
      <dgm:t>
        <a:bodyPr/>
        <a:lstStyle/>
        <a:p>
          <a:endParaRPr lang="en-US"/>
        </a:p>
      </dgm:t>
    </dgm:pt>
    <dgm:pt modelId="{D6C7A62E-5760-4469-B8C0-1E30F33BEF43}" type="sibTrans" cxnId="{E6852E12-4954-4F76-B180-999F57E3B96D}">
      <dgm:prSet/>
      <dgm:spPr/>
      <dgm:t>
        <a:bodyPr/>
        <a:lstStyle/>
        <a:p>
          <a:endParaRPr lang="en-US"/>
        </a:p>
      </dgm:t>
    </dgm:pt>
    <dgm:pt modelId="{C625BAE6-4D6C-4852-A7DB-0138FA95D99C}">
      <dgm:prSet phldrT="[Text]"/>
      <dgm:spPr/>
      <dgm:t>
        <a:bodyPr/>
        <a:lstStyle/>
        <a:p>
          <a:r>
            <a:rPr lang="en-US" dirty="0"/>
            <a:t>Certificates</a:t>
          </a:r>
        </a:p>
      </dgm:t>
    </dgm:pt>
    <dgm:pt modelId="{73E73987-6A0A-47CD-A96A-59639F11EC11}" type="parTrans" cxnId="{86671C8B-9B7B-427D-A683-0C94FF5CBC7A}">
      <dgm:prSet/>
      <dgm:spPr/>
      <dgm:t>
        <a:bodyPr/>
        <a:lstStyle/>
        <a:p>
          <a:endParaRPr lang="en-US"/>
        </a:p>
      </dgm:t>
    </dgm:pt>
    <dgm:pt modelId="{6E36ACC1-73AA-4DDF-B495-6851E385BAA6}" type="sibTrans" cxnId="{86671C8B-9B7B-427D-A683-0C94FF5CBC7A}">
      <dgm:prSet/>
      <dgm:spPr/>
      <dgm:t>
        <a:bodyPr/>
        <a:lstStyle/>
        <a:p>
          <a:endParaRPr lang="en-US"/>
        </a:p>
      </dgm:t>
    </dgm:pt>
    <dgm:pt modelId="{096FB379-387D-4B7C-B9EF-88DC209CB62E}">
      <dgm:prSet phldrT="[Text]"/>
      <dgm:spPr/>
      <dgm:t>
        <a:bodyPr/>
        <a:lstStyle/>
        <a:p>
          <a:r>
            <a:rPr lang="en-US" dirty="0"/>
            <a:t>Certified Ethical Hacker</a:t>
          </a:r>
        </a:p>
      </dgm:t>
    </dgm:pt>
    <dgm:pt modelId="{8634B436-E164-4079-BEBC-5693069A32FA}" type="sibTrans" cxnId="{7FA3D231-14A3-4A60-9F1A-E99FC0B7D395}">
      <dgm:prSet/>
      <dgm:spPr/>
      <dgm:t>
        <a:bodyPr/>
        <a:lstStyle/>
        <a:p>
          <a:endParaRPr lang="en-US"/>
        </a:p>
      </dgm:t>
    </dgm:pt>
    <dgm:pt modelId="{4859FDD0-A301-4E40-962F-D62CD65704DF}" type="parTrans" cxnId="{7FA3D231-14A3-4A60-9F1A-E99FC0B7D395}">
      <dgm:prSet/>
      <dgm:spPr/>
      <dgm:t>
        <a:bodyPr/>
        <a:lstStyle/>
        <a:p>
          <a:endParaRPr lang="en-US"/>
        </a:p>
      </dgm:t>
    </dgm:pt>
    <dgm:pt modelId="{34C8CAB1-D9D3-468C-B1FE-94222DAC68AB}">
      <dgm:prSet phldrT="[Text]"/>
      <dgm:spPr/>
      <dgm:t>
        <a:bodyPr/>
        <a:lstStyle/>
        <a:p>
          <a:r>
            <a:rPr lang="en-US" dirty="0"/>
            <a:t>Certified Encryption Specialist</a:t>
          </a:r>
        </a:p>
      </dgm:t>
    </dgm:pt>
    <dgm:pt modelId="{FDC18057-0C92-4812-BD10-1F29B153412A}" type="sibTrans" cxnId="{D37783C1-EBDF-4C97-97A3-5C72E93B076B}">
      <dgm:prSet/>
      <dgm:spPr/>
      <dgm:t>
        <a:bodyPr/>
        <a:lstStyle/>
        <a:p>
          <a:endParaRPr lang="en-US"/>
        </a:p>
      </dgm:t>
    </dgm:pt>
    <dgm:pt modelId="{15B32218-FECC-4695-A79E-1EBAB73A7F61}" type="parTrans" cxnId="{D37783C1-EBDF-4C97-97A3-5C72E93B076B}">
      <dgm:prSet/>
      <dgm:spPr/>
      <dgm:t>
        <a:bodyPr/>
        <a:lstStyle/>
        <a:p>
          <a:endParaRPr lang="en-US"/>
        </a:p>
      </dgm:t>
    </dgm:pt>
    <dgm:pt modelId="{5B6E3630-248C-4972-BE5C-596EE6C9D11F}">
      <dgm:prSet phldrT="[Text]"/>
      <dgm:spPr/>
      <dgm:t>
        <a:bodyPr/>
        <a:lstStyle/>
        <a:p>
          <a:r>
            <a:rPr lang="en-US" dirty="0"/>
            <a:t>Standards</a:t>
          </a:r>
        </a:p>
      </dgm:t>
    </dgm:pt>
    <dgm:pt modelId="{5A5EB006-89D1-4A00-A992-095AF4BF1787}" type="parTrans" cxnId="{84F11095-76B3-423B-A56F-76141BB388D4}">
      <dgm:prSet/>
      <dgm:spPr/>
      <dgm:t>
        <a:bodyPr/>
        <a:lstStyle/>
        <a:p>
          <a:endParaRPr lang="en-US"/>
        </a:p>
      </dgm:t>
    </dgm:pt>
    <dgm:pt modelId="{1B3BAB34-3EEE-454B-92F3-9508B585BC31}" type="sibTrans" cxnId="{84F11095-76B3-423B-A56F-76141BB388D4}">
      <dgm:prSet/>
      <dgm:spPr/>
      <dgm:t>
        <a:bodyPr/>
        <a:lstStyle/>
        <a:p>
          <a:endParaRPr lang="en-US"/>
        </a:p>
      </dgm:t>
    </dgm:pt>
    <dgm:pt modelId="{48F3F27A-5199-4A21-A610-90B79F05AD99}">
      <dgm:prSet phldrT="[Text]"/>
      <dgm:spPr/>
      <dgm:t>
        <a:bodyPr/>
        <a:lstStyle/>
        <a:p>
          <a:r>
            <a:rPr lang="en-US" dirty="0"/>
            <a:t>DSTU 7624:2014</a:t>
          </a:r>
        </a:p>
      </dgm:t>
    </dgm:pt>
    <dgm:pt modelId="{96B18CBD-4B9E-47D4-9E24-B28F9CEE72F8}" type="parTrans" cxnId="{F29AA804-67DD-4A40-9A49-E5873A2C4E4D}">
      <dgm:prSet/>
      <dgm:spPr/>
      <dgm:t>
        <a:bodyPr/>
        <a:lstStyle/>
        <a:p>
          <a:endParaRPr lang="en-US"/>
        </a:p>
      </dgm:t>
    </dgm:pt>
    <dgm:pt modelId="{628517FF-3213-44A8-8391-1327A683CEBA}" type="sibTrans" cxnId="{F29AA804-67DD-4A40-9A49-E5873A2C4E4D}">
      <dgm:prSet/>
      <dgm:spPr/>
      <dgm:t>
        <a:bodyPr/>
        <a:lstStyle/>
        <a:p>
          <a:endParaRPr lang="en-US"/>
        </a:p>
      </dgm:t>
    </dgm:pt>
    <dgm:pt modelId="{3E82EFB3-4CD0-4D7D-BD52-8AD1F1C6EEEE}">
      <dgm:prSet phldrT="[Text]"/>
      <dgm:spPr/>
      <dgm:t>
        <a:bodyPr/>
        <a:lstStyle/>
        <a:p>
          <a:r>
            <a:rPr lang="en-US"/>
            <a:t>DSTU </a:t>
          </a:r>
          <a:r>
            <a:rPr lang="en-US" dirty="0"/>
            <a:t>7564:2014</a:t>
          </a:r>
        </a:p>
      </dgm:t>
    </dgm:pt>
    <dgm:pt modelId="{870FD019-6E8E-4115-AF08-3A73E11E1EEB}" type="parTrans" cxnId="{7AF08973-9E9E-4BB2-B0CD-62A24B18A840}">
      <dgm:prSet/>
      <dgm:spPr/>
      <dgm:t>
        <a:bodyPr/>
        <a:lstStyle/>
        <a:p>
          <a:endParaRPr lang="en-US"/>
        </a:p>
      </dgm:t>
    </dgm:pt>
    <dgm:pt modelId="{DAA77F54-E84C-4613-8914-BE7540E1E641}" type="sibTrans" cxnId="{7AF08973-9E9E-4BB2-B0CD-62A24B18A840}">
      <dgm:prSet/>
      <dgm:spPr/>
      <dgm:t>
        <a:bodyPr/>
        <a:lstStyle/>
        <a:p>
          <a:endParaRPr lang="en-US"/>
        </a:p>
      </dgm:t>
    </dgm:pt>
    <dgm:pt modelId="{2ECACD73-E825-4936-B566-391D3DA4EFEA}" type="pres">
      <dgm:prSet presAssocID="{AF648DB2-2726-4FC3-8781-15AD928AAA19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327FC092-7973-45EC-95E7-3878C75E99EA}" type="pres">
      <dgm:prSet presAssocID="{8E6E57C1-AB10-4AE5-9B80-D49D2061AC72}" presName="root" presStyleCnt="0"/>
      <dgm:spPr/>
    </dgm:pt>
    <dgm:pt modelId="{3139952F-964D-4E40-A760-79C1342F0C06}" type="pres">
      <dgm:prSet presAssocID="{8E6E57C1-AB10-4AE5-9B80-D49D2061AC72}" presName="rootComposite" presStyleCnt="0"/>
      <dgm:spPr/>
    </dgm:pt>
    <dgm:pt modelId="{2C5450CF-FE9E-40EE-9B65-98AD8846B87B}" type="pres">
      <dgm:prSet presAssocID="{8E6E57C1-AB10-4AE5-9B80-D49D2061AC72}" presName="rootText" presStyleLbl="node1" presStyleIdx="0" presStyleCnt="3"/>
      <dgm:spPr/>
    </dgm:pt>
    <dgm:pt modelId="{38ACCA36-7ACC-44D6-BD42-C2465BA5AA98}" type="pres">
      <dgm:prSet presAssocID="{8E6E57C1-AB10-4AE5-9B80-D49D2061AC72}" presName="rootConnector" presStyleLbl="node1" presStyleIdx="0" presStyleCnt="3"/>
      <dgm:spPr/>
    </dgm:pt>
    <dgm:pt modelId="{65FB39C0-18C1-4197-AE05-001C928EEBF0}" type="pres">
      <dgm:prSet presAssocID="{8E6E57C1-AB10-4AE5-9B80-D49D2061AC72}" presName="childShape" presStyleCnt="0"/>
      <dgm:spPr/>
    </dgm:pt>
    <dgm:pt modelId="{1225F68D-CBC0-4BFA-BBDD-2FAE4C348FC7}" type="pres">
      <dgm:prSet presAssocID="{29CCD4BB-A71C-4394-9785-01A18F9AB274}" presName="Name13" presStyleLbl="parChTrans1D2" presStyleIdx="0" presStyleCnt="5"/>
      <dgm:spPr/>
    </dgm:pt>
    <dgm:pt modelId="{3A70B443-7EA5-4E94-843F-87C33DF71D74}" type="pres">
      <dgm:prSet presAssocID="{3982C2E9-91B4-432E-9730-9A71BA25E29A}" presName="childText" presStyleLbl="bgAcc1" presStyleIdx="0" presStyleCnt="5">
        <dgm:presLayoutVars>
          <dgm:bulletEnabled val="1"/>
        </dgm:presLayoutVars>
      </dgm:prSet>
      <dgm:spPr/>
    </dgm:pt>
    <dgm:pt modelId="{F5E59761-BB0F-466E-BDB5-0DB3F6AB4A75}" type="pres">
      <dgm:prSet presAssocID="{6D95A681-9A43-4A9E-AFCA-8FE876D231D6}" presName="Name13" presStyleLbl="parChTrans1D2" presStyleIdx="1" presStyleCnt="5"/>
      <dgm:spPr/>
    </dgm:pt>
    <dgm:pt modelId="{4671C52B-117D-4C9B-BDA9-B04896C9AD74}" type="pres">
      <dgm:prSet presAssocID="{547D1625-2FC3-418D-B222-475FE57C939D}" presName="childText" presStyleLbl="bgAcc1" presStyleIdx="1" presStyleCnt="5">
        <dgm:presLayoutVars>
          <dgm:bulletEnabled val="1"/>
        </dgm:presLayoutVars>
      </dgm:prSet>
      <dgm:spPr/>
    </dgm:pt>
    <dgm:pt modelId="{F6F31EAA-A6C5-4B80-9AC1-F7CCB0591B66}" type="pres">
      <dgm:prSet presAssocID="{D011ABB8-65A9-4113-AD76-ABFF95D96AB5}" presName="root" presStyleCnt="0"/>
      <dgm:spPr/>
    </dgm:pt>
    <dgm:pt modelId="{C48415DD-7E26-439E-A5AF-6B29A3D74EFE}" type="pres">
      <dgm:prSet presAssocID="{D011ABB8-65A9-4113-AD76-ABFF95D96AB5}" presName="rootComposite" presStyleCnt="0"/>
      <dgm:spPr/>
    </dgm:pt>
    <dgm:pt modelId="{CA2299E3-0843-4ECE-8F65-3B6475C8FCE5}" type="pres">
      <dgm:prSet presAssocID="{D011ABB8-65A9-4113-AD76-ABFF95D96AB5}" presName="rootText" presStyleLbl="node1" presStyleIdx="1" presStyleCnt="3"/>
      <dgm:spPr/>
    </dgm:pt>
    <dgm:pt modelId="{0C09CA43-48DD-4160-B46B-B739327B3A8B}" type="pres">
      <dgm:prSet presAssocID="{D011ABB8-65A9-4113-AD76-ABFF95D96AB5}" presName="rootConnector" presStyleLbl="node1" presStyleIdx="1" presStyleCnt="3"/>
      <dgm:spPr/>
    </dgm:pt>
    <dgm:pt modelId="{C5448347-1B1C-4486-9443-3966A3984966}" type="pres">
      <dgm:prSet presAssocID="{D011ABB8-65A9-4113-AD76-ABFF95D96AB5}" presName="childShape" presStyleCnt="0"/>
      <dgm:spPr/>
    </dgm:pt>
    <dgm:pt modelId="{FBFA81AE-42D0-46F1-B611-953AD894ABF8}" type="pres">
      <dgm:prSet presAssocID="{73E73987-6A0A-47CD-A96A-59639F11EC11}" presName="Name13" presStyleLbl="parChTrans1D2" presStyleIdx="2" presStyleCnt="5"/>
      <dgm:spPr/>
    </dgm:pt>
    <dgm:pt modelId="{5E92074D-2DFE-4E5C-920D-B220C3BD6AEA}" type="pres">
      <dgm:prSet presAssocID="{C625BAE6-4D6C-4852-A7DB-0138FA95D99C}" presName="childText" presStyleLbl="bgAcc1" presStyleIdx="2" presStyleCnt="5">
        <dgm:presLayoutVars>
          <dgm:bulletEnabled val="1"/>
        </dgm:presLayoutVars>
      </dgm:prSet>
      <dgm:spPr/>
    </dgm:pt>
    <dgm:pt modelId="{D63F7E04-690B-4960-84FA-8EEC86693BE2}" type="pres">
      <dgm:prSet presAssocID="{5A5EB006-89D1-4A00-A992-095AF4BF1787}" presName="Name13" presStyleLbl="parChTrans1D2" presStyleIdx="3" presStyleCnt="5"/>
      <dgm:spPr/>
    </dgm:pt>
    <dgm:pt modelId="{CD4D92A8-59D8-4C4F-BB01-A927BD5653AB}" type="pres">
      <dgm:prSet presAssocID="{5B6E3630-248C-4972-BE5C-596EE6C9D11F}" presName="childText" presStyleLbl="bgAcc1" presStyleIdx="3" presStyleCnt="5">
        <dgm:presLayoutVars>
          <dgm:bulletEnabled val="1"/>
        </dgm:presLayoutVars>
      </dgm:prSet>
      <dgm:spPr/>
    </dgm:pt>
    <dgm:pt modelId="{A58DF55F-A663-4D83-9134-229E624EA3F9}" type="pres">
      <dgm:prSet presAssocID="{BDC684C0-5F82-420C-8139-338DE1FE3BAA}" presName="root" presStyleCnt="0"/>
      <dgm:spPr/>
    </dgm:pt>
    <dgm:pt modelId="{0059763B-CEAA-4CAB-A15C-AE7860C53892}" type="pres">
      <dgm:prSet presAssocID="{BDC684C0-5F82-420C-8139-338DE1FE3BAA}" presName="rootComposite" presStyleCnt="0"/>
      <dgm:spPr/>
    </dgm:pt>
    <dgm:pt modelId="{5DD00C1D-48DC-42E8-BA3B-EC67C781AF7F}" type="pres">
      <dgm:prSet presAssocID="{BDC684C0-5F82-420C-8139-338DE1FE3BAA}" presName="rootText" presStyleLbl="node1" presStyleIdx="2" presStyleCnt="3"/>
      <dgm:spPr/>
    </dgm:pt>
    <dgm:pt modelId="{161FA447-C12C-4155-88E0-637B1B17FDD5}" type="pres">
      <dgm:prSet presAssocID="{BDC684C0-5F82-420C-8139-338DE1FE3BAA}" presName="rootConnector" presStyleLbl="node1" presStyleIdx="2" presStyleCnt="3"/>
      <dgm:spPr/>
    </dgm:pt>
    <dgm:pt modelId="{E52871A4-BF2A-4A5C-9E37-FF0353FFC175}" type="pres">
      <dgm:prSet presAssocID="{BDC684C0-5F82-420C-8139-338DE1FE3BAA}" presName="childShape" presStyleCnt="0"/>
      <dgm:spPr/>
    </dgm:pt>
    <dgm:pt modelId="{7C96ECD4-F81D-4EA2-A756-61A84B0BED24}" type="pres">
      <dgm:prSet presAssocID="{7C5588C4-A20A-4E44-A537-4803EFFE788B}" presName="Name13" presStyleLbl="parChTrans1D2" presStyleIdx="4" presStyleCnt="5"/>
      <dgm:spPr/>
    </dgm:pt>
    <dgm:pt modelId="{B421E5F7-2823-41C0-8B86-445F45F69999}" type="pres">
      <dgm:prSet presAssocID="{E3CE09D6-6DED-49E6-A725-86063D42440E}" presName="childText" presStyleLbl="bgAcc1" presStyleIdx="4" presStyleCnt="5">
        <dgm:presLayoutVars>
          <dgm:bulletEnabled val="1"/>
        </dgm:presLayoutVars>
      </dgm:prSet>
      <dgm:spPr/>
    </dgm:pt>
  </dgm:ptLst>
  <dgm:cxnLst>
    <dgm:cxn modelId="{F29AA804-67DD-4A40-9A49-E5873A2C4E4D}" srcId="{5B6E3630-248C-4972-BE5C-596EE6C9D11F}" destId="{48F3F27A-5199-4A21-A610-90B79F05AD99}" srcOrd="0" destOrd="0" parTransId="{96B18CBD-4B9E-47D4-9E24-B28F9CEE72F8}" sibTransId="{628517FF-3213-44A8-8391-1327A683CEBA}"/>
    <dgm:cxn modelId="{FEE81549-F5FF-426D-9DD5-65DB2C49257D}" type="presOf" srcId="{3E82EFB3-4CD0-4D7D-BD52-8AD1F1C6EEEE}" destId="{CD4D92A8-59D8-4C4F-BB01-A927BD5653AB}" srcOrd="0" destOrd="2" presId="urn:microsoft.com/office/officeart/2005/8/layout/hierarchy3"/>
    <dgm:cxn modelId="{84A5C9FA-2F9C-4E23-BB53-D02446C1599C}" type="presOf" srcId="{48F3F27A-5199-4A21-A610-90B79F05AD99}" destId="{CD4D92A8-59D8-4C4F-BB01-A927BD5653AB}" srcOrd="0" destOrd="1" presId="urn:microsoft.com/office/officeart/2005/8/layout/hierarchy3"/>
    <dgm:cxn modelId="{956D6691-599D-40ED-8EB8-88D2A95292D3}" type="presOf" srcId="{34C8CAB1-D9D3-468C-B1FE-94222DAC68AB}" destId="{5E92074D-2DFE-4E5C-920D-B220C3BD6AEA}" srcOrd="0" destOrd="2" presId="urn:microsoft.com/office/officeart/2005/8/layout/hierarchy3"/>
    <dgm:cxn modelId="{5A0828DB-B837-46FF-B667-6DA7A040DBC6}" type="presOf" srcId="{547D1625-2FC3-418D-B222-475FE57C939D}" destId="{4671C52B-117D-4C9B-BDA9-B04896C9AD74}" srcOrd="0" destOrd="0" presId="urn:microsoft.com/office/officeart/2005/8/layout/hierarchy3"/>
    <dgm:cxn modelId="{EF3CF166-B39F-4BC9-B9BD-664B29F8F48C}" srcId="{BDC684C0-5F82-420C-8139-338DE1FE3BAA}" destId="{E3CE09D6-6DED-49E6-A725-86063D42440E}" srcOrd="0" destOrd="0" parTransId="{7C5588C4-A20A-4E44-A537-4803EFFE788B}" sibTransId="{37D45D21-23A4-45FD-A54B-19CA1B6B41AA}"/>
    <dgm:cxn modelId="{B29462A0-0DF7-4E31-812E-E96D82C9FBC0}" type="presOf" srcId="{6D95A681-9A43-4A9E-AFCA-8FE876D231D6}" destId="{F5E59761-BB0F-466E-BDB5-0DB3F6AB4A75}" srcOrd="0" destOrd="0" presId="urn:microsoft.com/office/officeart/2005/8/layout/hierarchy3"/>
    <dgm:cxn modelId="{4BCA14F2-EC19-416E-A2A7-A7B0533CF96E}" type="presOf" srcId="{8E6E57C1-AB10-4AE5-9B80-D49D2061AC72}" destId="{2C5450CF-FE9E-40EE-9B65-98AD8846B87B}" srcOrd="0" destOrd="0" presId="urn:microsoft.com/office/officeart/2005/8/layout/hierarchy3"/>
    <dgm:cxn modelId="{22CDB208-B1D3-4659-98CD-16DF4A2131B4}" type="presOf" srcId="{D011ABB8-65A9-4113-AD76-ABFF95D96AB5}" destId="{CA2299E3-0843-4ECE-8F65-3B6475C8FCE5}" srcOrd="0" destOrd="0" presId="urn:microsoft.com/office/officeart/2005/8/layout/hierarchy3"/>
    <dgm:cxn modelId="{EA2DB9A3-60D2-4AE2-B67C-FFBFC715E860}" type="presOf" srcId="{29CCD4BB-A71C-4394-9785-01A18F9AB274}" destId="{1225F68D-CBC0-4BFA-BBDD-2FAE4C348FC7}" srcOrd="0" destOrd="0" presId="urn:microsoft.com/office/officeart/2005/8/layout/hierarchy3"/>
    <dgm:cxn modelId="{7AF08973-9E9E-4BB2-B0CD-62A24B18A840}" srcId="{5B6E3630-248C-4972-BE5C-596EE6C9D11F}" destId="{3E82EFB3-4CD0-4D7D-BD52-8AD1F1C6EEEE}" srcOrd="1" destOrd="0" parTransId="{870FD019-6E8E-4115-AF08-3A73E11E1EEB}" sibTransId="{DAA77F54-E84C-4613-8914-BE7540E1E641}"/>
    <dgm:cxn modelId="{D37783C1-EBDF-4C97-97A3-5C72E93B076B}" srcId="{C625BAE6-4D6C-4852-A7DB-0138FA95D99C}" destId="{34C8CAB1-D9D3-468C-B1FE-94222DAC68AB}" srcOrd="1" destOrd="0" parTransId="{15B32218-FECC-4695-A79E-1EBAB73A7F61}" sibTransId="{FDC18057-0C92-4812-BD10-1F29B153412A}"/>
    <dgm:cxn modelId="{3FE8EBCB-2B08-4878-99F8-97335E83CA41}" type="presOf" srcId="{096FB379-387D-4B7C-B9EF-88DC209CB62E}" destId="{5E92074D-2DFE-4E5C-920D-B220C3BD6AEA}" srcOrd="0" destOrd="1" presId="urn:microsoft.com/office/officeart/2005/8/layout/hierarchy3"/>
    <dgm:cxn modelId="{19D637C0-70C0-4755-A032-B4C0A551D0DB}" srcId="{AF648DB2-2726-4FC3-8781-15AD928AAA19}" destId="{8E6E57C1-AB10-4AE5-9B80-D49D2061AC72}" srcOrd="0" destOrd="0" parTransId="{CB7029A0-FE4D-470D-9DCF-0628DAE3261D}" sibTransId="{E3511D27-C95B-4027-A4D9-1038E296344B}"/>
    <dgm:cxn modelId="{94F117F7-CEA1-45C5-ADDA-1C1C3AA9D1C0}" type="presOf" srcId="{BDC684C0-5F82-420C-8139-338DE1FE3BAA}" destId="{161FA447-C12C-4155-88E0-637B1B17FDD5}" srcOrd="1" destOrd="0" presId="urn:microsoft.com/office/officeart/2005/8/layout/hierarchy3"/>
    <dgm:cxn modelId="{A1C86A5E-88C1-4C3E-8189-8D8F970A3575}" type="presOf" srcId="{8E6E57C1-AB10-4AE5-9B80-D49D2061AC72}" destId="{38ACCA36-7ACC-44D6-BD42-C2465BA5AA98}" srcOrd="1" destOrd="0" presId="urn:microsoft.com/office/officeart/2005/8/layout/hierarchy3"/>
    <dgm:cxn modelId="{7FA3D231-14A3-4A60-9F1A-E99FC0B7D395}" srcId="{C625BAE6-4D6C-4852-A7DB-0138FA95D99C}" destId="{096FB379-387D-4B7C-B9EF-88DC209CB62E}" srcOrd="0" destOrd="0" parTransId="{4859FDD0-A301-4E40-962F-D62CD65704DF}" sibTransId="{8634B436-E164-4079-BEBC-5693069A32FA}"/>
    <dgm:cxn modelId="{30F89AFF-F48C-40CB-86FA-5FF5F1C29D75}" type="presOf" srcId="{BDC684C0-5F82-420C-8139-338DE1FE3BAA}" destId="{5DD00C1D-48DC-42E8-BA3B-EC67C781AF7F}" srcOrd="0" destOrd="0" presId="urn:microsoft.com/office/officeart/2005/8/layout/hierarchy3"/>
    <dgm:cxn modelId="{04BACBF8-BB36-40DC-B921-3A5C21B0E460}" type="presOf" srcId="{C625BAE6-4D6C-4852-A7DB-0138FA95D99C}" destId="{5E92074D-2DFE-4E5C-920D-B220C3BD6AEA}" srcOrd="0" destOrd="0" presId="urn:microsoft.com/office/officeart/2005/8/layout/hierarchy3"/>
    <dgm:cxn modelId="{ECC4119D-421A-4172-8B07-7CFCF9A114F8}" type="presOf" srcId="{5B6E3630-248C-4972-BE5C-596EE6C9D11F}" destId="{CD4D92A8-59D8-4C4F-BB01-A927BD5653AB}" srcOrd="0" destOrd="0" presId="urn:microsoft.com/office/officeart/2005/8/layout/hierarchy3"/>
    <dgm:cxn modelId="{2B671DFC-00D3-4702-ADE6-4046218C9A88}" srcId="{8E6E57C1-AB10-4AE5-9B80-D49D2061AC72}" destId="{547D1625-2FC3-418D-B222-475FE57C939D}" srcOrd="1" destOrd="0" parTransId="{6D95A681-9A43-4A9E-AFCA-8FE876D231D6}" sibTransId="{9C0BFE5E-8B55-4814-888F-5F53E7EA0BB7}"/>
    <dgm:cxn modelId="{9673BD36-AF93-4389-BE33-13018F853F97}" type="presOf" srcId="{5A5EB006-89D1-4A00-A992-095AF4BF1787}" destId="{D63F7E04-690B-4960-84FA-8EEC86693BE2}" srcOrd="0" destOrd="0" presId="urn:microsoft.com/office/officeart/2005/8/layout/hierarchy3"/>
    <dgm:cxn modelId="{E6852E12-4954-4F76-B180-999F57E3B96D}" srcId="{AF648DB2-2726-4FC3-8781-15AD928AAA19}" destId="{D011ABB8-65A9-4113-AD76-ABFF95D96AB5}" srcOrd="1" destOrd="0" parTransId="{B11E8E61-CECE-4515-9E84-D252CC85C62F}" sibTransId="{D6C7A62E-5760-4469-B8C0-1E30F33BEF43}"/>
    <dgm:cxn modelId="{487E8C7B-5892-4570-A65C-E0A826695CB6}" type="presOf" srcId="{7C5588C4-A20A-4E44-A537-4803EFFE788B}" destId="{7C96ECD4-F81D-4EA2-A756-61A84B0BED24}" srcOrd="0" destOrd="0" presId="urn:microsoft.com/office/officeart/2005/8/layout/hierarchy3"/>
    <dgm:cxn modelId="{4ABAFCC3-3486-4510-B433-BB8C4741FE3C}" type="presOf" srcId="{D011ABB8-65A9-4113-AD76-ABFF95D96AB5}" destId="{0C09CA43-48DD-4160-B46B-B739327B3A8B}" srcOrd="1" destOrd="0" presId="urn:microsoft.com/office/officeart/2005/8/layout/hierarchy3"/>
    <dgm:cxn modelId="{86671C8B-9B7B-427D-A683-0C94FF5CBC7A}" srcId="{D011ABB8-65A9-4113-AD76-ABFF95D96AB5}" destId="{C625BAE6-4D6C-4852-A7DB-0138FA95D99C}" srcOrd="0" destOrd="0" parTransId="{73E73987-6A0A-47CD-A96A-59639F11EC11}" sibTransId="{6E36ACC1-73AA-4DDF-B495-6851E385BAA6}"/>
    <dgm:cxn modelId="{719A5B3B-2C97-431B-AD6C-38B735719AD0}" type="presOf" srcId="{3982C2E9-91B4-432E-9730-9A71BA25E29A}" destId="{3A70B443-7EA5-4E94-843F-87C33DF71D74}" srcOrd="0" destOrd="0" presId="urn:microsoft.com/office/officeart/2005/8/layout/hierarchy3"/>
    <dgm:cxn modelId="{5C0A8412-0C38-44C0-A7DA-98EDB304E7B0}" srcId="{8E6E57C1-AB10-4AE5-9B80-D49D2061AC72}" destId="{3982C2E9-91B4-432E-9730-9A71BA25E29A}" srcOrd="0" destOrd="0" parTransId="{29CCD4BB-A71C-4394-9785-01A18F9AB274}" sibTransId="{FF1FA529-D328-4F1D-BBF3-D28399567E49}"/>
    <dgm:cxn modelId="{F277C3D3-6C1E-45C9-AFFF-0BDD426ADF8C}" type="presOf" srcId="{E3CE09D6-6DED-49E6-A725-86063D42440E}" destId="{B421E5F7-2823-41C0-8B86-445F45F69999}" srcOrd="0" destOrd="0" presId="urn:microsoft.com/office/officeart/2005/8/layout/hierarchy3"/>
    <dgm:cxn modelId="{84F11095-76B3-423B-A56F-76141BB388D4}" srcId="{D011ABB8-65A9-4113-AD76-ABFF95D96AB5}" destId="{5B6E3630-248C-4972-BE5C-596EE6C9D11F}" srcOrd="1" destOrd="0" parTransId="{5A5EB006-89D1-4A00-A992-095AF4BF1787}" sibTransId="{1B3BAB34-3EEE-454B-92F3-9508B585BC31}"/>
    <dgm:cxn modelId="{08DE3B9D-9C66-427C-B57C-09B657009992}" type="presOf" srcId="{73E73987-6A0A-47CD-A96A-59639F11EC11}" destId="{FBFA81AE-42D0-46F1-B611-953AD894ABF8}" srcOrd="0" destOrd="0" presId="urn:microsoft.com/office/officeart/2005/8/layout/hierarchy3"/>
    <dgm:cxn modelId="{457497E0-8648-4FA8-8D6A-F333208FB68F}" type="presOf" srcId="{AF648DB2-2726-4FC3-8781-15AD928AAA19}" destId="{2ECACD73-E825-4936-B566-391D3DA4EFEA}" srcOrd="0" destOrd="0" presId="urn:microsoft.com/office/officeart/2005/8/layout/hierarchy3"/>
    <dgm:cxn modelId="{7C2DD4A9-EE48-417B-9871-1F2D8DBEF465}" srcId="{AF648DB2-2726-4FC3-8781-15AD928AAA19}" destId="{BDC684C0-5F82-420C-8139-338DE1FE3BAA}" srcOrd="2" destOrd="0" parTransId="{BB4ACF87-5C76-417F-8A12-7A33D2A3BE0A}" sibTransId="{EF48D5C8-9B06-4701-AB91-3D7B0D26BCD5}"/>
    <dgm:cxn modelId="{EEE03D0D-A2A8-4CA9-83BD-49C14FD26AF4}" type="presParOf" srcId="{2ECACD73-E825-4936-B566-391D3DA4EFEA}" destId="{327FC092-7973-45EC-95E7-3878C75E99EA}" srcOrd="0" destOrd="0" presId="urn:microsoft.com/office/officeart/2005/8/layout/hierarchy3"/>
    <dgm:cxn modelId="{16EECAE9-93E0-4984-9FB7-56BBC369AFA5}" type="presParOf" srcId="{327FC092-7973-45EC-95E7-3878C75E99EA}" destId="{3139952F-964D-4E40-A760-79C1342F0C06}" srcOrd="0" destOrd="0" presId="urn:microsoft.com/office/officeart/2005/8/layout/hierarchy3"/>
    <dgm:cxn modelId="{CA317D68-1650-480E-9650-12959EE2F19B}" type="presParOf" srcId="{3139952F-964D-4E40-A760-79C1342F0C06}" destId="{2C5450CF-FE9E-40EE-9B65-98AD8846B87B}" srcOrd="0" destOrd="0" presId="urn:microsoft.com/office/officeart/2005/8/layout/hierarchy3"/>
    <dgm:cxn modelId="{8CA69546-EA6A-4F7D-A460-26F68AC8F14E}" type="presParOf" srcId="{3139952F-964D-4E40-A760-79C1342F0C06}" destId="{38ACCA36-7ACC-44D6-BD42-C2465BA5AA98}" srcOrd="1" destOrd="0" presId="urn:microsoft.com/office/officeart/2005/8/layout/hierarchy3"/>
    <dgm:cxn modelId="{2BF91DFC-D1FE-493B-8526-07D728C173A2}" type="presParOf" srcId="{327FC092-7973-45EC-95E7-3878C75E99EA}" destId="{65FB39C0-18C1-4197-AE05-001C928EEBF0}" srcOrd="1" destOrd="0" presId="urn:microsoft.com/office/officeart/2005/8/layout/hierarchy3"/>
    <dgm:cxn modelId="{66DCABBA-FE63-4621-A495-BFB2309FA077}" type="presParOf" srcId="{65FB39C0-18C1-4197-AE05-001C928EEBF0}" destId="{1225F68D-CBC0-4BFA-BBDD-2FAE4C348FC7}" srcOrd="0" destOrd="0" presId="urn:microsoft.com/office/officeart/2005/8/layout/hierarchy3"/>
    <dgm:cxn modelId="{D7772258-1526-46F9-8C64-594AE2AE3216}" type="presParOf" srcId="{65FB39C0-18C1-4197-AE05-001C928EEBF0}" destId="{3A70B443-7EA5-4E94-843F-87C33DF71D74}" srcOrd="1" destOrd="0" presId="urn:microsoft.com/office/officeart/2005/8/layout/hierarchy3"/>
    <dgm:cxn modelId="{A91E692C-F392-4B62-B0E3-A799F7D705BC}" type="presParOf" srcId="{65FB39C0-18C1-4197-AE05-001C928EEBF0}" destId="{F5E59761-BB0F-466E-BDB5-0DB3F6AB4A75}" srcOrd="2" destOrd="0" presId="urn:microsoft.com/office/officeart/2005/8/layout/hierarchy3"/>
    <dgm:cxn modelId="{EE236737-6E26-4398-91C3-6B56F4630443}" type="presParOf" srcId="{65FB39C0-18C1-4197-AE05-001C928EEBF0}" destId="{4671C52B-117D-4C9B-BDA9-B04896C9AD74}" srcOrd="3" destOrd="0" presId="urn:microsoft.com/office/officeart/2005/8/layout/hierarchy3"/>
    <dgm:cxn modelId="{96F62D44-5741-4557-9EB7-72EDA49316E9}" type="presParOf" srcId="{2ECACD73-E825-4936-B566-391D3DA4EFEA}" destId="{F6F31EAA-A6C5-4B80-9AC1-F7CCB0591B66}" srcOrd="1" destOrd="0" presId="urn:microsoft.com/office/officeart/2005/8/layout/hierarchy3"/>
    <dgm:cxn modelId="{FFFED7FB-D09A-4C6B-AD30-40E84596FC93}" type="presParOf" srcId="{F6F31EAA-A6C5-4B80-9AC1-F7CCB0591B66}" destId="{C48415DD-7E26-439E-A5AF-6B29A3D74EFE}" srcOrd="0" destOrd="0" presId="urn:microsoft.com/office/officeart/2005/8/layout/hierarchy3"/>
    <dgm:cxn modelId="{6B0E4C60-0520-4E2B-8954-4918EA2A0766}" type="presParOf" srcId="{C48415DD-7E26-439E-A5AF-6B29A3D74EFE}" destId="{CA2299E3-0843-4ECE-8F65-3B6475C8FCE5}" srcOrd="0" destOrd="0" presId="urn:microsoft.com/office/officeart/2005/8/layout/hierarchy3"/>
    <dgm:cxn modelId="{CAE09E56-0364-464F-8AC1-6083773D3F27}" type="presParOf" srcId="{C48415DD-7E26-439E-A5AF-6B29A3D74EFE}" destId="{0C09CA43-48DD-4160-B46B-B739327B3A8B}" srcOrd="1" destOrd="0" presId="urn:microsoft.com/office/officeart/2005/8/layout/hierarchy3"/>
    <dgm:cxn modelId="{1345CB94-BC79-48E7-A954-8EC2C2DBE250}" type="presParOf" srcId="{F6F31EAA-A6C5-4B80-9AC1-F7CCB0591B66}" destId="{C5448347-1B1C-4486-9443-3966A3984966}" srcOrd="1" destOrd="0" presId="urn:microsoft.com/office/officeart/2005/8/layout/hierarchy3"/>
    <dgm:cxn modelId="{76A04D97-F01A-4395-BCFC-C7B79308FEF7}" type="presParOf" srcId="{C5448347-1B1C-4486-9443-3966A3984966}" destId="{FBFA81AE-42D0-46F1-B611-953AD894ABF8}" srcOrd="0" destOrd="0" presId="urn:microsoft.com/office/officeart/2005/8/layout/hierarchy3"/>
    <dgm:cxn modelId="{8CE9AA70-191E-4C1B-A612-4A3330CB997C}" type="presParOf" srcId="{C5448347-1B1C-4486-9443-3966A3984966}" destId="{5E92074D-2DFE-4E5C-920D-B220C3BD6AEA}" srcOrd="1" destOrd="0" presId="urn:microsoft.com/office/officeart/2005/8/layout/hierarchy3"/>
    <dgm:cxn modelId="{B2E74AB9-8DD4-4AF5-B132-F8AC2B6D0C68}" type="presParOf" srcId="{C5448347-1B1C-4486-9443-3966A3984966}" destId="{D63F7E04-690B-4960-84FA-8EEC86693BE2}" srcOrd="2" destOrd="0" presId="urn:microsoft.com/office/officeart/2005/8/layout/hierarchy3"/>
    <dgm:cxn modelId="{62646BE0-0DC2-4B69-80F5-2AF23039BA91}" type="presParOf" srcId="{C5448347-1B1C-4486-9443-3966A3984966}" destId="{CD4D92A8-59D8-4C4F-BB01-A927BD5653AB}" srcOrd="3" destOrd="0" presId="urn:microsoft.com/office/officeart/2005/8/layout/hierarchy3"/>
    <dgm:cxn modelId="{800A623D-5968-4A63-8FBF-44CCF01C2F88}" type="presParOf" srcId="{2ECACD73-E825-4936-B566-391D3DA4EFEA}" destId="{A58DF55F-A663-4D83-9134-229E624EA3F9}" srcOrd="2" destOrd="0" presId="urn:microsoft.com/office/officeart/2005/8/layout/hierarchy3"/>
    <dgm:cxn modelId="{7DB139AD-34CA-48FB-B372-C8B69465388D}" type="presParOf" srcId="{A58DF55F-A663-4D83-9134-229E624EA3F9}" destId="{0059763B-CEAA-4CAB-A15C-AE7860C53892}" srcOrd="0" destOrd="0" presId="urn:microsoft.com/office/officeart/2005/8/layout/hierarchy3"/>
    <dgm:cxn modelId="{BB1C9E27-0640-48C1-BF60-1F2BD84FA03A}" type="presParOf" srcId="{0059763B-CEAA-4CAB-A15C-AE7860C53892}" destId="{5DD00C1D-48DC-42E8-BA3B-EC67C781AF7F}" srcOrd="0" destOrd="0" presId="urn:microsoft.com/office/officeart/2005/8/layout/hierarchy3"/>
    <dgm:cxn modelId="{3AC9652B-0A41-4B17-B813-CB63B7C8AA02}" type="presParOf" srcId="{0059763B-CEAA-4CAB-A15C-AE7860C53892}" destId="{161FA447-C12C-4155-88E0-637B1B17FDD5}" srcOrd="1" destOrd="0" presId="urn:microsoft.com/office/officeart/2005/8/layout/hierarchy3"/>
    <dgm:cxn modelId="{6B2497B0-236D-4D34-A0E8-A99BF364E2C5}" type="presParOf" srcId="{A58DF55F-A663-4D83-9134-229E624EA3F9}" destId="{E52871A4-BF2A-4A5C-9E37-FF0353FFC175}" srcOrd="1" destOrd="0" presId="urn:microsoft.com/office/officeart/2005/8/layout/hierarchy3"/>
    <dgm:cxn modelId="{4FB5CEC7-B0B0-4C5B-AFA6-D466FA41F627}" type="presParOf" srcId="{E52871A4-BF2A-4A5C-9E37-FF0353FFC175}" destId="{7C96ECD4-F81D-4EA2-A756-61A84B0BED24}" srcOrd="0" destOrd="0" presId="urn:microsoft.com/office/officeart/2005/8/layout/hierarchy3"/>
    <dgm:cxn modelId="{66E5E4C6-6F3E-4359-99EF-EA8E81B3EA36}" type="presParOf" srcId="{E52871A4-BF2A-4A5C-9E37-FF0353FFC175}" destId="{B421E5F7-2823-41C0-8B86-445F45F69999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1BC89C53-0D05-4021-BD34-4A1DFC18DEBE}" type="doc">
      <dgm:prSet loTypeId="urn:microsoft.com/office/officeart/2005/8/layout/rings+Icon" loCatId="officeonline" qsTypeId="urn:microsoft.com/office/officeart/2005/8/quickstyle/simple1" qsCatId="simple" csTypeId="urn:microsoft.com/office/officeart/2005/8/colors/colorful4" csCatId="colorful" phldr="1"/>
      <dgm:spPr/>
    </dgm:pt>
    <dgm:pt modelId="{619A8ED3-B879-417A-8154-346782E1F657}">
      <dgm:prSet phldrT="[Text]"/>
      <dgm:spPr/>
      <dgm:t>
        <a:bodyPr/>
        <a:lstStyle/>
        <a:p>
          <a:endParaRPr lang="en-US" dirty="0"/>
        </a:p>
      </dgm:t>
    </dgm:pt>
    <dgm:pt modelId="{AAAE418E-FBBC-4FBA-8190-13A1EDD02EDC}" type="parTrans" cxnId="{2176378B-60AD-4458-9A3F-A180431E40C4}">
      <dgm:prSet/>
      <dgm:spPr/>
      <dgm:t>
        <a:bodyPr/>
        <a:lstStyle/>
        <a:p>
          <a:endParaRPr lang="en-US"/>
        </a:p>
      </dgm:t>
    </dgm:pt>
    <dgm:pt modelId="{CFF06AF4-0913-4882-97C3-D0F2680787A8}" type="sibTrans" cxnId="{2176378B-60AD-4458-9A3F-A180431E40C4}">
      <dgm:prSet/>
      <dgm:spPr/>
      <dgm:t>
        <a:bodyPr/>
        <a:lstStyle/>
        <a:p>
          <a:endParaRPr lang="en-US"/>
        </a:p>
      </dgm:t>
    </dgm:pt>
    <dgm:pt modelId="{97DB5F84-A410-445C-BA09-5F91173D5458}">
      <dgm:prSet phldrT="[Text]"/>
      <dgm:spPr/>
      <dgm:t>
        <a:bodyPr/>
        <a:lstStyle/>
        <a:p>
          <a:endParaRPr lang="en-US" dirty="0"/>
        </a:p>
      </dgm:t>
    </dgm:pt>
    <dgm:pt modelId="{ADE2890B-D991-403E-8021-B666F34AB1D2}" type="parTrans" cxnId="{83959222-6DE1-4927-B98F-2F93C7150D96}">
      <dgm:prSet/>
      <dgm:spPr/>
      <dgm:t>
        <a:bodyPr/>
        <a:lstStyle/>
        <a:p>
          <a:endParaRPr lang="en-US"/>
        </a:p>
      </dgm:t>
    </dgm:pt>
    <dgm:pt modelId="{1C286CA0-B779-4120-BC70-98D79C2C3CD1}" type="sibTrans" cxnId="{83959222-6DE1-4927-B98F-2F93C7150D96}">
      <dgm:prSet/>
      <dgm:spPr/>
      <dgm:t>
        <a:bodyPr/>
        <a:lstStyle/>
        <a:p>
          <a:endParaRPr lang="en-US"/>
        </a:p>
      </dgm:t>
    </dgm:pt>
    <dgm:pt modelId="{6B5ACED0-EDA5-4AED-B26E-D8764E8E201D}" type="pres">
      <dgm:prSet presAssocID="{1BC89C53-0D05-4021-BD34-4A1DFC18DEBE}" presName="Name0" presStyleCnt="0">
        <dgm:presLayoutVars>
          <dgm:chMax val="7"/>
          <dgm:dir/>
          <dgm:resizeHandles val="exact"/>
        </dgm:presLayoutVars>
      </dgm:prSet>
      <dgm:spPr/>
    </dgm:pt>
    <dgm:pt modelId="{70F85E29-52FB-41A4-B3CD-C58C48D8A193}" type="pres">
      <dgm:prSet presAssocID="{1BC89C53-0D05-4021-BD34-4A1DFC18DEBE}" presName="ellipse1" presStyleLbl="vennNode1" presStyleIdx="0" presStyleCnt="2" custLinFactNeighborX="3486" custLinFactNeighborY="2254">
        <dgm:presLayoutVars>
          <dgm:bulletEnabled val="1"/>
        </dgm:presLayoutVars>
      </dgm:prSet>
      <dgm:spPr/>
    </dgm:pt>
    <dgm:pt modelId="{7295534F-3BE5-4EC8-9A70-70DF8A4FF700}" type="pres">
      <dgm:prSet presAssocID="{1BC89C53-0D05-4021-BD34-4A1DFC18DEBE}" presName="ellipse2" presStyleLbl="vennNode1" presStyleIdx="1" presStyleCnt="2" custLinFactNeighborX="-25878" custLinFactNeighborY="-64440">
        <dgm:presLayoutVars>
          <dgm:bulletEnabled val="1"/>
        </dgm:presLayoutVars>
      </dgm:prSet>
      <dgm:spPr/>
    </dgm:pt>
  </dgm:ptLst>
  <dgm:cxnLst>
    <dgm:cxn modelId="{05C5E8DF-EECB-4F55-99DE-8CB1BE981D2B}" type="presOf" srcId="{1BC89C53-0D05-4021-BD34-4A1DFC18DEBE}" destId="{6B5ACED0-EDA5-4AED-B26E-D8764E8E201D}" srcOrd="0" destOrd="0" presId="urn:microsoft.com/office/officeart/2005/8/layout/rings+Icon"/>
    <dgm:cxn modelId="{83959222-6DE1-4927-B98F-2F93C7150D96}" srcId="{1BC89C53-0D05-4021-BD34-4A1DFC18DEBE}" destId="{97DB5F84-A410-445C-BA09-5F91173D5458}" srcOrd="1" destOrd="0" parTransId="{ADE2890B-D991-403E-8021-B666F34AB1D2}" sibTransId="{1C286CA0-B779-4120-BC70-98D79C2C3CD1}"/>
    <dgm:cxn modelId="{2176378B-60AD-4458-9A3F-A180431E40C4}" srcId="{1BC89C53-0D05-4021-BD34-4A1DFC18DEBE}" destId="{619A8ED3-B879-417A-8154-346782E1F657}" srcOrd="0" destOrd="0" parTransId="{AAAE418E-FBBC-4FBA-8190-13A1EDD02EDC}" sibTransId="{CFF06AF4-0913-4882-97C3-D0F2680787A8}"/>
    <dgm:cxn modelId="{98221588-9FC0-4CD1-A48E-3CFBA233E36F}" type="presOf" srcId="{619A8ED3-B879-417A-8154-346782E1F657}" destId="{70F85E29-52FB-41A4-B3CD-C58C48D8A193}" srcOrd="0" destOrd="0" presId="urn:microsoft.com/office/officeart/2005/8/layout/rings+Icon"/>
    <dgm:cxn modelId="{A3E6288C-8B5D-4C2B-9892-753ED7E40ECE}" type="presOf" srcId="{97DB5F84-A410-445C-BA09-5F91173D5458}" destId="{7295534F-3BE5-4EC8-9A70-70DF8A4FF700}" srcOrd="0" destOrd="0" presId="urn:microsoft.com/office/officeart/2005/8/layout/rings+Icon"/>
    <dgm:cxn modelId="{D08E4EDA-12BA-4BA2-AEDB-E01798827432}" type="presParOf" srcId="{6B5ACED0-EDA5-4AED-B26E-D8764E8E201D}" destId="{70F85E29-52FB-41A4-B3CD-C58C48D8A193}" srcOrd="0" destOrd="0" presId="urn:microsoft.com/office/officeart/2005/8/layout/rings+Icon"/>
    <dgm:cxn modelId="{95A60F5E-CF60-42B0-9268-BF838085F855}" type="presParOf" srcId="{6B5ACED0-EDA5-4AED-B26E-D8764E8E201D}" destId="{7295534F-3BE5-4EC8-9A70-70DF8A4FF700}" srcOrd="1" destOrd="0" presId="urn:microsoft.com/office/officeart/2005/8/layout/rings+Icon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D03496CA-1CB9-4E62-8FB5-F7858F1AEE57}" type="doc">
      <dgm:prSet loTypeId="urn:microsoft.com/office/officeart/2005/8/layout/arrow2" loCatId="process" qsTypeId="urn:microsoft.com/office/officeart/2005/8/quickstyle/simple1" qsCatId="simple" csTypeId="urn:microsoft.com/office/officeart/2005/8/colors/colorful4" csCatId="colorful" phldr="1"/>
      <dgm:spPr/>
    </dgm:pt>
    <dgm:pt modelId="{D36115C2-A2BF-48D2-817E-7050E94E0991}">
      <dgm:prSet phldrT="[Text]" custT="1"/>
      <dgm:spPr/>
      <dgm:t>
        <a:bodyPr/>
        <a:lstStyle/>
        <a:p>
          <a:r>
            <a:rPr lang="en-US" sz="1900" dirty="0">
              <a:solidFill>
                <a:schemeClr val="accent1"/>
              </a:solidFill>
            </a:rPr>
            <a:t>OWASP TOP 10</a:t>
          </a:r>
        </a:p>
      </dgm:t>
    </dgm:pt>
    <dgm:pt modelId="{DF0565D5-220A-468A-92D4-B7701BB718D1}" type="parTrans" cxnId="{EDE638D6-9AC7-473C-B912-841465AE6B1A}">
      <dgm:prSet/>
      <dgm:spPr/>
      <dgm:t>
        <a:bodyPr/>
        <a:lstStyle/>
        <a:p>
          <a:endParaRPr lang="en-US"/>
        </a:p>
      </dgm:t>
    </dgm:pt>
    <dgm:pt modelId="{99B44F8C-8165-4859-9689-9656B41D7E7C}" type="sibTrans" cxnId="{EDE638D6-9AC7-473C-B912-841465AE6B1A}">
      <dgm:prSet/>
      <dgm:spPr/>
      <dgm:t>
        <a:bodyPr/>
        <a:lstStyle/>
        <a:p>
          <a:endParaRPr lang="en-US"/>
        </a:p>
      </dgm:t>
    </dgm:pt>
    <dgm:pt modelId="{342CF4EB-7982-47AE-B182-3DB13CC0FE01}">
      <dgm:prSet custT="1"/>
      <dgm:spPr/>
      <dgm:t>
        <a:bodyPr/>
        <a:lstStyle/>
        <a:p>
          <a:r>
            <a:rPr lang="en-US" sz="1900" dirty="0">
              <a:solidFill>
                <a:schemeClr val="accent1"/>
              </a:solidFill>
            </a:rPr>
            <a:t>EVRY</a:t>
          </a:r>
        </a:p>
      </dgm:t>
    </dgm:pt>
    <dgm:pt modelId="{CB18AA79-A6B4-4790-AD6F-AB93A1531984}" type="parTrans" cxnId="{38C946B7-0D43-4FB5-8547-14C4B8E7DBA0}">
      <dgm:prSet/>
      <dgm:spPr/>
      <dgm:t>
        <a:bodyPr/>
        <a:lstStyle/>
        <a:p>
          <a:endParaRPr lang="en-US"/>
        </a:p>
      </dgm:t>
    </dgm:pt>
    <dgm:pt modelId="{CBA4BDC5-CA87-4FFC-A2EF-A22D428E5C65}" type="sibTrans" cxnId="{38C946B7-0D43-4FB5-8547-14C4B8E7DBA0}">
      <dgm:prSet/>
      <dgm:spPr/>
      <dgm:t>
        <a:bodyPr/>
        <a:lstStyle/>
        <a:p>
          <a:endParaRPr lang="en-US"/>
        </a:p>
      </dgm:t>
    </dgm:pt>
    <dgm:pt modelId="{FB269D60-E335-4B47-BA7B-477E1AF16861}">
      <dgm:prSet custT="1"/>
      <dgm:spPr/>
      <dgm:t>
        <a:bodyPr/>
        <a:lstStyle/>
        <a:p>
          <a:r>
            <a:rPr lang="en-US" sz="1900" dirty="0">
              <a:solidFill>
                <a:schemeClr val="accent1"/>
              </a:solidFill>
            </a:rPr>
            <a:t>PCI DSS</a:t>
          </a:r>
        </a:p>
      </dgm:t>
    </dgm:pt>
    <dgm:pt modelId="{7003008E-B184-4EEF-9BDB-FF3E3100D23F}" type="parTrans" cxnId="{49DD7A75-59D3-44CF-A629-85F5A1F79AC7}">
      <dgm:prSet/>
      <dgm:spPr/>
      <dgm:t>
        <a:bodyPr/>
        <a:lstStyle/>
        <a:p>
          <a:endParaRPr lang="en-US"/>
        </a:p>
      </dgm:t>
    </dgm:pt>
    <dgm:pt modelId="{6E18A67F-A56B-4D3A-B9A3-3EC28CF55460}" type="sibTrans" cxnId="{49DD7A75-59D3-44CF-A629-85F5A1F79AC7}">
      <dgm:prSet/>
      <dgm:spPr/>
      <dgm:t>
        <a:bodyPr/>
        <a:lstStyle/>
        <a:p>
          <a:endParaRPr lang="en-US"/>
        </a:p>
      </dgm:t>
    </dgm:pt>
    <dgm:pt modelId="{86199CE4-AC48-4D1A-ADF1-507A403E38C8}">
      <dgm:prSet custT="1"/>
      <dgm:spPr/>
      <dgm:t>
        <a:bodyPr/>
        <a:lstStyle/>
        <a:p>
          <a:r>
            <a:rPr lang="en-US" sz="1900" dirty="0">
              <a:solidFill>
                <a:schemeClr val="accent1"/>
              </a:solidFill>
            </a:rPr>
            <a:t>EVRY FS</a:t>
          </a:r>
        </a:p>
      </dgm:t>
    </dgm:pt>
    <dgm:pt modelId="{CF787E25-C860-4052-B231-5DA641770B18}" type="parTrans" cxnId="{999C99F6-F308-4AE0-8888-451BA5496240}">
      <dgm:prSet/>
      <dgm:spPr/>
      <dgm:t>
        <a:bodyPr/>
        <a:lstStyle/>
        <a:p>
          <a:endParaRPr lang="en-US"/>
        </a:p>
      </dgm:t>
    </dgm:pt>
    <dgm:pt modelId="{96F79735-259B-4153-A87E-4F5B3B9343C7}" type="sibTrans" cxnId="{999C99F6-F308-4AE0-8888-451BA5496240}">
      <dgm:prSet/>
      <dgm:spPr/>
      <dgm:t>
        <a:bodyPr/>
        <a:lstStyle/>
        <a:p>
          <a:endParaRPr lang="en-US"/>
        </a:p>
      </dgm:t>
    </dgm:pt>
    <dgm:pt modelId="{620D943B-38E3-41D7-A33A-01B65E8BE6AD}" type="pres">
      <dgm:prSet presAssocID="{D03496CA-1CB9-4E62-8FB5-F7858F1AEE57}" presName="arrowDiagram" presStyleCnt="0">
        <dgm:presLayoutVars>
          <dgm:chMax val="5"/>
          <dgm:dir/>
          <dgm:resizeHandles val="exact"/>
        </dgm:presLayoutVars>
      </dgm:prSet>
      <dgm:spPr/>
    </dgm:pt>
    <dgm:pt modelId="{2C7C2F44-8252-4198-8855-4C9A612EE4C3}" type="pres">
      <dgm:prSet presAssocID="{D03496CA-1CB9-4E62-8FB5-F7858F1AEE57}" presName="arrow" presStyleLbl="bgShp" presStyleIdx="0" presStyleCnt="1" custLinFactNeighborX="119" custLinFactNeighborY="206"/>
      <dgm:spPr/>
    </dgm:pt>
    <dgm:pt modelId="{6E44AEFB-4DB2-4FB3-923D-996291CA8C1D}" type="pres">
      <dgm:prSet presAssocID="{D03496CA-1CB9-4E62-8FB5-F7858F1AEE57}" presName="arrowDiagram4" presStyleCnt="0"/>
      <dgm:spPr/>
    </dgm:pt>
    <dgm:pt modelId="{9CC2BEBA-066F-46E9-80A0-577BBF55FEB3}" type="pres">
      <dgm:prSet presAssocID="{D36115C2-A2BF-48D2-817E-7050E94E0991}" presName="bullet4a" presStyleLbl="node1" presStyleIdx="0" presStyleCnt="4"/>
      <dgm:spPr/>
    </dgm:pt>
    <dgm:pt modelId="{216F22A2-0A16-492E-AD47-DC8901185577}" type="pres">
      <dgm:prSet presAssocID="{D36115C2-A2BF-48D2-817E-7050E94E0991}" presName="textBox4a" presStyleLbl="revTx" presStyleIdx="0" presStyleCnt="4" custScaleX="187427" custScaleY="56515" custLinFactNeighborX="40125" custLinFactNeighborY="-9544">
        <dgm:presLayoutVars>
          <dgm:bulletEnabled val="1"/>
        </dgm:presLayoutVars>
      </dgm:prSet>
      <dgm:spPr/>
    </dgm:pt>
    <dgm:pt modelId="{99346CAD-B9D1-424F-9910-C4F03FB31ECA}" type="pres">
      <dgm:prSet presAssocID="{342CF4EB-7982-47AE-B182-3DB13CC0FE01}" presName="bullet4b" presStyleLbl="node1" presStyleIdx="1" presStyleCnt="4"/>
      <dgm:spPr/>
    </dgm:pt>
    <dgm:pt modelId="{120E538B-36BE-4EDF-8C64-6F13416C2250}" type="pres">
      <dgm:prSet presAssocID="{342CF4EB-7982-47AE-B182-3DB13CC0FE01}" presName="textBox4b" presStyleLbl="revTx" presStyleIdx="1" presStyleCnt="4" custScaleY="59203" custLinFactNeighborX="-2240" custLinFactNeighborY="-14086">
        <dgm:presLayoutVars>
          <dgm:bulletEnabled val="1"/>
        </dgm:presLayoutVars>
      </dgm:prSet>
      <dgm:spPr/>
    </dgm:pt>
    <dgm:pt modelId="{C049265D-5209-4486-A5FA-B2D37AC1AA1D}" type="pres">
      <dgm:prSet presAssocID="{FB269D60-E335-4B47-BA7B-477E1AF16861}" presName="bullet4c" presStyleLbl="node1" presStyleIdx="2" presStyleCnt="4"/>
      <dgm:spPr/>
    </dgm:pt>
    <dgm:pt modelId="{0D3B427E-83AD-46CE-9E33-C3229E8F2032}" type="pres">
      <dgm:prSet presAssocID="{FB269D60-E335-4B47-BA7B-477E1AF16861}" presName="textBox4c" presStyleLbl="revTx" presStyleIdx="2" presStyleCnt="4" custScaleY="28178" custLinFactNeighborX="-4145" custLinFactNeighborY="-28123">
        <dgm:presLayoutVars>
          <dgm:bulletEnabled val="1"/>
        </dgm:presLayoutVars>
      </dgm:prSet>
      <dgm:spPr/>
    </dgm:pt>
    <dgm:pt modelId="{A5A1EAC4-FD8E-43A9-9FE7-49BD874D42AE}" type="pres">
      <dgm:prSet presAssocID="{86199CE4-AC48-4D1A-ADF1-507A403E38C8}" presName="bullet4d" presStyleLbl="node1" presStyleIdx="3" presStyleCnt="4"/>
      <dgm:spPr/>
    </dgm:pt>
    <dgm:pt modelId="{7F299862-CA99-4B3D-99E5-0FCFEEC3DE54}" type="pres">
      <dgm:prSet presAssocID="{86199CE4-AC48-4D1A-ADF1-507A403E38C8}" presName="textBox4d" presStyleLbl="revTx" presStyleIdx="3" presStyleCnt="4" custScaleX="124923" custScaleY="17641" custLinFactNeighborX="2741" custLinFactNeighborY="-58371">
        <dgm:presLayoutVars>
          <dgm:bulletEnabled val="1"/>
        </dgm:presLayoutVars>
      </dgm:prSet>
      <dgm:spPr/>
    </dgm:pt>
  </dgm:ptLst>
  <dgm:cxnLst>
    <dgm:cxn modelId="{49DD7A75-59D3-44CF-A629-85F5A1F79AC7}" srcId="{D03496CA-1CB9-4E62-8FB5-F7858F1AEE57}" destId="{FB269D60-E335-4B47-BA7B-477E1AF16861}" srcOrd="2" destOrd="0" parTransId="{7003008E-B184-4EEF-9BDB-FF3E3100D23F}" sibTransId="{6E18A67F-A56B-4D3A-B9A3-3EC28CF55460}"/>
    <dgm:cxn modelId="{50D567D4-44CD-4A59-89E5-68296F65EF2C}" type="presOf" srcId="{86199CE4-AC48-4D1A-ADF1-507A403E38C8}" destId="{7F299862-CA99-4B3D-99E5-0FCFEEC3DE54}" srcOrd="0" destOrd="0" presId="urn:microsoft.com/office/officeart/2005/8/layout/arrow2"/>
    <dgm:cxn modelId="{38C946B7-0D43-4FB5-8547-14C4B8E7DBA0}" srcId="{D03496CA-1CB9-4E62-8FB5-F7858F1AEE57}" destId="{342CF4EB-7982-47AE-B182-3DB13CC0FE01}" srcOrd="1" destOrd="0" parTransId="{CB18AA79-A6B4-4790-AD6F-AB93A1531984}" sibTransId="{CBA4BDC5-CA87-4FFC-A2EF-A22D428E5C65}"/>
    <dgm:cxn modelId="{999C99F6-F308-4AE0-8888-451BA5496240}" srcId="{D03496CA-1CB9-4E62-8FB5-F7858F1AEE57}" destId="{86199CE4-AC48-4D1A-ADF1-507A403E38C8}" srcOrd="3" destOrd="0" parTransId="{CF787E25-C860-4052-B231-5DA641770B18}" sibTransId="{96F79735-259B-4153-A87E-4F5B3B9343C7}"/>
    <dgm:cxn modelId="{EDE638D6-9AC7-473C-B912-841465AE6B1A}" srcId="{D03496CA-1CB9-4E62-8FB5-F7858F1AEE57}" destId="{D36115C2-A2BF-48D2-817E-7050E94E0991}" srcOrd="0" destOrd="0" parTransId="{DF0565D5-220A-468A-92D4-B7701BB718D1}" sibTransId="{99B44F8C-8165-4859-9689-9656B41D7E7C}"/>
    <dgm:cxn modelId="{2DA5CE39-9203-456B-8725-F4CD174502C0}" type="presOf" srcId="{342CF4EB-7982-47AE-B182-3DB13CC0FE01}" destId="{120E538B-36BE-4EDF-8C64-6F13416C2250}" srcOrd="0" destOrd="0" presId="urn:microsoft.com/office/officeart/2005/8/layout/arrow2"/>
    <dgm:cxn modelId="{6638DA1D-505B-4447-92B6-5781E991AACE}" type="presOf" srcId="{D03496CA-1CB9-4E62-8FB5-F7858F1AEE57}" destId="{620D943B-38E3-41D7-A33A-01B65E8BE6AD}" srcOrd="0" destOrd="0" presId="urn:microsoft.com/office/officeart/2005/8/layout/arrow2"/>
    <dgm:cxn modelId="{8EED346E-863B-42B3-B5C9-3B0AC90A3641}" type="presOf" srcId="{FB269D60-E335-4B47-BA7B-477E1AF16861}" destId="{0D3B427E-83AD-46CE-9E33-C3229E8F2032}" srcOrd="0" destOrd="0" presId="urn:microsoft.com/office/officeart/2005/8/layout/arrow2"/>
    <dgm:cxn modelId="{2E51D41D-C5C9-4FD4-B58E-E60A7976460F}" type="presOf" srcId="{D36115C2-A2BF-48D2-817E-7050E94E0991}" destId="{216F22A2-0A16-492E-AD47-DC8901185577}" srcOrd="0" destOrd="0" presId="urn:microsoft.com/office/officeart/2005/8/layout/arrow2"/>
    <dgm:cxn modelId="{9C91995C-9368-46F9-9139-EAE2E5B76A4F}" type="presParOf" srcId="{620D943B-38E3-41D7-A33A-01B65E8BE6AD}" destId="{2C7C2F44-8252-4198-8855-4C9A612EE4C3}" srcOrd="0" destOrd="0" presId="urn:microsoft.com/office/officeart/2005/8/layout/arrow2"/>
    <dgm:cxn modelId="{B9C1F94A-D685-4AED-987E-3277117DBA88}" type="presParOf" srcId="{620D943B-38E3-41D7-A33A-01B65E8BE6AD}" destId="{6E44AEFB-4DB2-4FB3-923D-996291CA8C1D}" srcOrd="1" destOrd="0" presId="urn:microsoft.com/office/officeart/2005/8/layout/arrow2"/>
    <dgm:cxn modelId="{D5C22DAD-A1C2-4E87-AF04-BB4B3931ABC7}" type="presParOf" srcId="{6E44AEFB-4DB2-4FB3-923D-996291CA8C1D}" destId="{9CC2BEBA-066F-46E9-80A0-577BBF55FEB3}" srcOrd="0" destOrd="0" presId="urn:microsoft.com/office/officeart/2005/8/layout/arrow2"/>
    <dgm:cxn modelId="{DC7D2716-5CD3-48ED-A86D-41693542722C}" type="presParOf" srcId="{6E44AEFB-4DB2-4FB3-923D-996291CA8C1D}" destId="{216F22A2-0A16-492E-AD47-DC8901185577}" srcOrd="1" destOrd="0" presId="urn:microsoft.com/office/officeart/2005/8/layout/arrow2"/>
    <dgm:cxn modelId="{8F0115FA-493E-477D-AA7A-E147BD96A0D1}" type="presParOf" srcId="{6E44AEFB-4DB2-4FB3-923D-996291CA8C1D}" destId="{99346CAD-B9D1-424F-9910-C4F03FB31ECA}" srcOrd="2" destOrd="0" presId="urn:microsoft.com/office/officeart/2005/8/layout/arrow2"/>
    <dgm:cxn modelId="{82573FDA-A241-484D-9FEB-F940668C2E6C}" type="presParOf" srcId="{6E44AEFB-4DB2-4FB3-923D-996291CA8C1D}" destId="{120E538B-36BE-4EDF-8C64-6F13416C2250}" srcOrd="3" destOrd="0" presId="urn:microsoft.com/office/officeart/2005/8/layout/arrow2"/>
    <dgm:cxn modelId="{8AFFC752-81F9-4897-8366-75D3DCA4675D}" type="presParOf" srcId="{6E44AEFB-4DB2-4FB3-923D-996291CA8C1D}" destId="{C049265D-5209-4486-A5FA-B2D37AC1AA1D}" srcOrd="4" destOrd="0" presId="urn:microsoft.com/office/officeart/2005/8/layout/arrow2"/>
    <dgm:cxn modelId="{7FDFCFAC-7476-4D9E-9710-0BA56A48C0AD}" type="presParOf" srcId="{6E44AEFB-4DB2-4FB3-923D-996291CA8C1D}" destId="{0D3B427E-83AD-46CE-9E33-C3229E8F2032}" srcOrd="5" destOrd="0" presId="urn:microsoft.com/office/officeart/2005/8/layout/arrow2"/>
    <dgm:cxn modelId="{B12462E0-4F73-4B16-B6C5-B95C548BAEB8}" type="presParOf" srcId="{6E44AEFB-4DB2-4FB3-923D-996291CA8C1D}" destId="{A5A1EAC4-FD8E-43A9-9FE7-49BD874D42AE}" srcOrd="6" destOrd="0" presId="urn:microsoft.com/office/officeart/2005/8/layout/arrow2"/>
    <dgm:cxn modelId="{FE1BE0BC-3EC5-4421-AC90-FF9D94371DAC}" type="presParOf" srcId="{6E44AEFB-4DB2-4FB3-923D-996291CA8C1D}" destId="{7F299862-CA99-4B3D-99E5-0FCFEEC3DE54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197CE5BF-4C99-4CC8-AAFF-6AED62ABB06E}" type="doc">
      <dgm:prSet loTypeId="urn:microsoft.com/office/officeart/2008/layout/AscendingPictureAccentProcess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04D62670-29A2-4506-93F8-A0A05111FF3D}">
      <dgm:prSet phldrT="[Text]"/>
      <dgm:spPr/>
      <dgm:t>
        <a:bodyPr/>
        <a:lstStyle/>
        <a:p>
          <a:r>
            <a:rPr lang="en-US" dirty="0"/>
            <a:t>Opportunistic</a:t>
          </a:r>
        </a:p>
      </dgm:t>
    </dgm:pt>
    <dgm:pt modelId="{7FFF36E5-8559-4240-BF89-384ED38BE6B1}" type="parTrans" cxnId="{29A90E2E-9EA8-44B2-B60A-EFDD800E6224}">
      <dgm:prSet/>
      <dgm:spPr/>
      <dgm:t>
        <a:bodyPr/>
        <a:lstStyle/>
        <a:p>
          <a:endParaRPr lang="en-US"/>
        </a:p>
      </dgm:t>
    </dgm:pt>
    <dgm:pt modelId="{5AB0A2AC-2E26-4C9E-B2E0-AC80E9DF58DB}" type="sibTrans" cxnId="{29A90E2E-9EA8-44B2-B60A-EFDD800E6224}">
      <dgm:prSet/>
      <dgm:spPr/>
      <dgm:t>
        <a:bodyPr/>
        <a:lstStyle/>
        <a:p>
          <a:endParaRPr lang="en-US"/>
        </a:p>
      </dgm:t>
    </dgm:pt>
    <dgm:pt modelId="{18265AD5-CC85-4277-9067-1DC99CAC5DBF}">
      <dgm:prSet phldrT="[Text]"/>
      <dgm:spPr/>
      <dgm:t>
        <a:bodyPr/>
        <a:lstStyle/>
        <a:p>
          <a:r>
            <a:rPr lang="en-US" dirty="0"/>
            <a:t>Standard</a:t>
          </a:r>
        </a:p>
      </dgm:t>
    </dgm:pt>
    <dgm:pt modelId="{6FCE17D9-D651-43FD-865C-FBA111D57F7F}" type="parTrans" cxnId="{95A0CCD8-2A70-4711-BF8D-D3842C75A9BD}">
      <dgm:prSet/>
      <dgm:spPr/>
      <dgm:t>
        <a:bodyPr/>
        <a:lstStyle/>
        <a:p>
          <a:endParaRPr lang="en-US"/>
        </a:p>
      </dgm:t>
    </dgm:pt>
    <dgm:pt modelId="{536BF8BE-EB70-4640-ABCE-475708835FFF}" type="sibTrans" cxnId="{95A0CCD8-2A70-4711-BF8D-D3842C75A9BD}">
      <dgm:prSet/>
      <dgm:spPr/>
      <dgm:t>
        <a:bodyPr/>
        <a:lstStyle/>
        <a:p>
          <a:endParaRPr lang="en-US"/>
        </a:p>
      </dgm:t>
    </dgm:pt>
    <dgm:pt modelId="{9C6CB77A-58F6-4D1A-9E91-B1CF0E011B16}">
      <dgm:prSet phldrT="[Text]"/>
      <dgm:spPr/>
      <dgm:t>
        <a:bodyPr/>
        <a:lstStyle/>
        <a:p>
          <a:r>
            <a:rPr lang="en-US" dirty="0"/>
            <a:t>Cursory</a:t>
          </a:r>
        </a:p>
      </dgm:t>
    </dgm:pt>
    <dgm:pt modelId="{463A88BD-354E-4B4E-A468-82606F1DD2A0}" type="parTrans" cxnId="{615DC5A2-920C-451C-BA01-93532786B7B2}">
      <dgm:prSet/>
      <dgm:spPr/>
      <dgm:t>
        <a:bodyPr/>
        <a:lstStyle/>
        <a:p>
          <a:endParaRPr lang="en-US"/>
        </a:p>
      </dgm:t>
    </dgm:pt>
    <dgm:pt modelId="{16C0091B-701A-44B0-AC24-1A454303A383}" type="sibTrans" cxnId="{615DC5A2-920C-451C-BA01-93532786B7B2}">
      <dgm:prSet/>
      <dgm:spPr/>
      <dgm:t>
        <a:bodyPr/>
        <a:lstStyle/>
        <a:p>
          <a:endParaRPr lang="en-US"/>
        </a:p>
      </dgm:t>
    </dgm:pt>
    <dgm:pt modelId="{FF5FC139-7AE9-41E4-9AC2-D525B1FAF369}">
      <dgm:prSet phldrT="[Text]"/>
      <dgm:spPr/>
      <dgm:t>
        <a:bodyPr/>
        <a:lstStyle/>
        <a:p>
          <a:r>
            <a:rPr lang="en-US" dirty="0"/>
            <a:t>Advanced</a:t>
          </a:r>
        </a:p>
      </dgm:t>
    </dgm:pt>
    <dgm:pt modelId="{392A06BB-B25B-427D-AA14-79C6FFBD8B27}" type="parTrans" cxnId="{783D1D3C-EEDE-4F6A-9284-2C6F96F82FF1}">
      <dgm:prSet/>
      <dgm:spPr/>
      <dgm:t>
        <a:bodyPr/>
        <a:lstStyle/>
        <a:p>
          <a:endParaRPr lang="en-US"/>
        </a:p>
      </dgm:t>
    </dgm:pt>
    <dgm:pt modelId="{B5F47BDD-1F29-41E7-A074-1D987BC905DA}" type="sibTrans" cxnId="{783D1D3C-EEDE-4F6A-9284-2C6F96F82FF1}">
      <dgm:prSet/>
      <dgm:spPr/>
      <dgm:t>
        <a:bodyPr/>
        <a:lstStyle/>
        <a:p>
          <a:endParaRPr lang="en-US"/>
        </a:p>
      </dgm:t>
    </dgm:pt>
    <dgm:pt modelId="{3B2A6C25-2620-4258-BD39-82C4C99C743A}" type="pres">
      <dgm:prSet presAssocID="{197CE5BF-4C99-4CC8-AAFF-6AED62ABB06E}" presName="Name0" presStyleCnt="0">
        <dgm:presLayoutVars>
          <dgm:chMax val="7"/>
          <dgm:chPref val="7"/>
          <dgm:dir/>
        </dgm:presLayoutVars>
      </dgm:prSet>
      <dgm:spPr/>
    </dgm:pt>
    <dgm:pt modelId="{435C8577-F5DA-407E-886B-BD21017EBF78}" type="pres">
      <dgm:prSet presAssocID="{197CE5BF-4C99-4CC8-AAFF-6AED62ABB06E}" presName="dot1" presStyleLbl="alignNode1" presStyleIdx="0" presStyleCnt="13"/>
      <dgm:spPr/>
    </dgm:pt>
    <dgm:pt modelId="{46AA24DB-8E6F-46F7-B22F-5BDD57190465}" type="pres">
      <dgm:prSet presAssocID="{197CE5BF-4C99-4CC8-AAFF-6AED62ABB06E}" presName="dot2" presStyleLbl="alignNode1" presStyleIdx="1" presStyleCnt="13"/>
      <dgm:spPr/>
    </dgm:pt>
    <dgm:pt modelId="{E7D18A8E-C009-4715-BA8B-2B1A86C4457C}" type="pres">
      <dgm:prSet presAssocID="{197CE5BF-4C99-4CC8-AAFF-6AED62ABB06E}" presName="dot3" presStyleLbl="alignNode1" presStyleIdx="2" presStyleCnt="13"/>
      <dgm:spPr/>
    </dgm:pt>
    <dgm:pt modelId="{F445C57C-AF46-46CB-8F03-EE7B042AA969}" type="pres">
      <dgm:prSet presAssocID="{197CE5BF-4C99-4CC8-AAFF-6AED62ABB06E}" presName="dot4" presStyleLbl="alignNode1" presStyleIdx="3" presStyleCnt="13"/>
      <dgm:spPr/>
    </dgm:pt>
    <dgm:pt modelId="{4281BA7B-8289-46E7-858B-E53D49813020}" type="pres">
      <dgm:prSet presAssocID="{197CE5BF-4C99-4CC8-AAFF-6AED62ABB06E}" presName="dot5" presStyleLbl="alignNode1" presStyleIdx="4" presStyleCnt="13"/>
      <dgm:spPr/>
    </dgm:pt>
    <dgm:pt modelId="{634E4EE0-2829-43AA-A195-7C372C871460}" type="pres">
      <dgm:prSet presAssocID="{197CE5BF-4C99-4CC8-AAFF-6AED62ABB06E}" presName="dot6" presStyleLbl="alignNode1" presStyleIdx="5" presStyleCnt="13"/>
      <dgm:spPr/>
    </dgm:pt>
    <dgm:pt modelId="{5EBB7C8C-687C-4634-8688-84D2B134EF9A}" type="pres">
      <dgm:prSet presAssocID="{197CE5BF-4C99-4CC8-AAFF-6AED62ABB06E}" presName="dotArrow1" presStyleLbl="alignNode1" presStyleIdx="6" presStyleCnt="13"/>
      <dgm:spPr/>
    </dgm:pt>
    <dgm:pt modelId="{7F96D939-4310-4C75-8118-5A32FEE628EF}" type="pres">
      <dgm:prSet presAssocID="{197CE5BF-4C99-4CC8-AAFF-6AED62ABB06E}" presName="dotArrow2" presStyleLbl="alignNode1" presStyleIdx="7" presStyleCnt="13"/>
      <dgm:spPr/>
    </dgm:pt>
    <dgm:pt modelId="{13C2632D-911D-4760-A6EF-4713C81F7B2D}" type="pres">
      <dgm:prSet presAssocID="{197CE5BF-4C99-4CC8-AAFF-6AED62ABB06E}" presName="dotArrow3" presStyleLbl="alignNode1" presStyleIdx="8" presStyleCnt="13"/>
      <dgm:spPr/>
    </dgm:pt>
    <dgm:pt modelId="{6E24B292-B58D-4DDE-8DEA-CD84A91844CF}" type="pres">
      <dgm:prSet presAssocID="{197CE5BF-4C99-4CC8-AAFF-6AED62ABB06E}" presName="dotArrow4" presStyleLbl="alignNode1" presStyleIdx="9" presStyleCnt="13"/>
      <dgm:spPr/>
    </dgm:pt>
    <dgm:pt modelId="{A30CDB9E-FC0D-4369-9E90-1C5CF4B55505}" type="pres">
      <dgm:prSet presAssocID="{197CE5BF-4C99-4CC8-AAFF-6AED62ABB06E}" presName="dotArrow5" presStyleLbl="alignNode1" presStyleIdx="10" presStyleCnt="13"/>
      <dgm:spPr/>
    </dgm:pt>
    <dgm:pt modelId="{9E1E7FC8-E7BB-4C97-9FC9-D0DA8AA1734D}" type="pres">
      <dgm:prSet presAssocID="{197CE5BF-4C99-4CC8-AAFF-6AED62ABB06E}" presName="dotArrow6" presStyleLbl="alignNode1" presStyleIdx="11" presStyleCnt="13"/>
      <dgm:spPr/>
    </dgm:pt>
    <dgm:pt modelId="{54025E44-C0D2-45EC-BAFA-1DDECDA9B00A}" type="pres">
      <dgm:prSet presAssocID="{197CE5BF-4C99-4CC8-AAFF-6AED62ABB06E}" presName="dotArrow7" presStyleLbl="alignNode1" presStyleIdx="12" presStyleCnt="13"/>
      <dgm:spPr/>
    </dgm:pt>
    <dgm:pt modelId="{EFF19CEC-DA22-403A-808F-AD76E3A5E06C}" type="pres">
      <dgm:prSet presAssocID="{9C6CB77A-58F6-4D1A-9E91-B1CF0E011B16}" presName="parTx1" presStyleLbl="node1" presStyleIdx="0" presStyleCnt="4"/>
      <dgm:spPr/>
    </dgm:pt>
    <dgm:pt modelId="{C9357526-3BA6-45E0-9F46-9AB49C2DBC9D}" type="pres">
      <dgm:prSet presAssocID="{16C0091B-701A-44B0-AC24-1A454303A383}" presName="picture1" presStyleCnt="0"/>
      <dgm:spPr/>
    </dgm:pt>
    <dgm:pt modelId="{3DED6AD2-5E19-4882-9D1D-D811E1BDB48B}" type="pres">
      <dgm:prSet presAssocID="{16C0091B-701A-44B0-AC24-1A454303A383}" presName="imageRepeatNode" presStyleLbl="fgImgPlace1" presStyleIdx="0" presStyleCnt="4"/>
      <dgm:spPr/>
    </dgm:pt>
    <dgm:pt modelId="{F95305AF-B0C9-495A-A1A8-AAB23136F572}" type="pres">
      <dgm:prSet presAssocID="{04D62670-29A2-4506-93F8-A0A05111FF3D}" presName="parTx2" presStyleLbl="node1" presStyleIdx="1" presStyleCnt="4"/>
      <dgm:spPr/>
    </dgm:pt>
    <dgm:pt modelId="{8EA6230C-0880-4D71-955C-3EC5AC8F7986}" type="pres">
      <dgm:prSet presAssocID="{5AB0A2AC-2E26-4C9E-B2E0-AC80E9DF58DB}" presName="picture2" presStyleCnt="0"/>
      <dgm:spPr/>
    </dgm:pt>
    <dgm:pt modelId="{D9C39670-B49F-416C-91F7-85029BC424BC}" type="pres">
      <dgm:prSet presAssocID="{5AB0A2AC-2E26-4C9E-B2E0-AC80E9DF58DB}" presName="imageRepeatNode" presStyleLbl="fgImgPlace1" presStyleIdx="1" presStyleCnt="4"/>
      <dgm:spPr/>
    </dgm:pt>
    <dgm:pt modelId="{667185C8-3788-4F99-A0B2-F50ADAD5F94B}" type="pres">
      <dgm:prSet presAssocID="{18265AD5-CC85-4277-9067-1DC99CAC5DBF}" presName="parTx3" presStyleLbl="node1" presStyleIdx="2" presStyleCnt="4"/>
      <dgm:spPr/>
    </dgm:pt>
    <dgm:pt modelId="{2484D19B-FC6B-4700-B00D-1C0569FA5D5A}" type="pres">
      <dgm:prSet presAssocID="{536BF8BE-EB70-4640-ABCE-475708835FFF}" presName="picture3" presStyleCnt="0"/>
      <dgm:spPr/>
    </dgm:pt>
    <dgm:pt modelId="{718F6A20-5316-4437-BC6A-23604C3EB304}" type="pres">
      <dgm:prSet presAssocID="{536BF8BE-EB70-4640-ABCE-475708835FFF}" presName="imageRepeatNode" presStyleLbl="fgImgPlace1" presStyleIdx="2" presStyleCnt="4"/>
      <dgm:spPr/>
    </dgm:pt>
    <dgm:pt modelId="{0FDD5CB5-8F15-49C2-9524-C920895E577B}" type="pres">
      <dgm:prSet presAssocID="{FF5FC139-7AE9-41E4-9AC2-D525B1FAF369}" presName="parTx4" presStyleLbl="node1" presStyleIdx="3" presStyleCnt="4"/>
      <dgm:spPr/>
    </dgm:pt>
    <dgm:pt modelId="{B205A2F0-7656-4A50-A4F0-2955B11CF82B}" type="pres">
      <dgm:prSet presAssocID="{B5F47BDD-1F29-41E7-A074-1D987BC905DA}" presName="picture4" presStyleCnt="0"/>
      <dgm:spPr/>
    </dgm:pt>
    <dgm:pt modelId="{D4D8A53A-D0D3-4159-A1DB-26CB42056F65}" type="pres">
      <dgm:prSet presAssocID="{B5F47BDD-1F29-41E7-A074-1D987BC905DA}" presName="imageRepeatNode" presStyleLbl="fgImgPlace1" presStyleIdx="3" presStyleCnt="4"/>
      <dgm:spPr/>
    </dgm:pt>
  </dgm:ptLst>
  <dgm:cxnLst>
    <dgm:cxn modelId="{131BECDC-15AB-4535-9A2F-4E2090240C06}" type="presOf" srcId="{197CE5BF-4C99-4CC8-AAFF-6AED62ABB06E}" destId="{3B2A6C25-2620-4258-BD39-82C4C99C743A}" srcOrd="0" destOrd="0" presId="urn:microsoft.com/office/officeart/2008/layout/AscendingPictureAccentProcess"/>
    <dgm:cxn modelId="{615DC5A2-920C-451C-BA01-93532786B7B2}" srcId="{197CE5BF-4C99-4CC8-AAFF-6AED62ABB06E}" destId="{9C6CB77A-58F6-4D1A-9E91-B1CF0E011B16}" srcOrd="0" destOrd="0" parTransId="{463A88BD-354E-4B4E-A468-82606F1DD2A0}" sibTransId="{16C0091B-701A-44B0-AC24-1A454303A383}"/>
    <dgm:cxn modelId="{030E0FE2-1156-444E-92BA-BE1BE6ED72D8}" type="presOf" srcId="{16C0091B-701A-44B0-AC24-1A454303A383}" destId="{3DED6AD2-5E19-4882-9D1D-D811E1BDB48B}" srcOrd="0" destOrd="0" presId="urn:microsoft.com/office/officeart/2008/layout/AscendingPictureAccentProcess"/>
    <dgm:cxn modelId="{783D1D3C-EEDE-4F6A-9284-2C6F96F82FF1}" srcId="{197CE5BF-4C99-4CC8-AAFF-6AED62ABB06E}" destId="{FF5FC139-7AE9-41E4-9AC2-D525B1FAF369}" srcOrd="3" destOrd="0" parTransId="{392A06BB-B25B-427D-AA14-79C6FFBD8B27}" sibTransId="{B5F47BDD-1F29-41E7-A074-1D987BC905DA}"/>
    <dgm:cxn modelId="{29A90E2E-9EA8-44B2-B60A-EFDD800E6224}" srcId="{197CE5BF-4C99-4CC8-AAFF-6AED62ABB06E}" destId="{04D62670-29A2-4506-93F8-A0A05111FF3D}" srcOrd="1" destOrd="0" parTransId="{7FFF36E5-8559-4240-BF89-384ED38BE6B1}" sibTransId="{5AB0A2AC-2E26-4C9E-B2E0-AC80E9DF58DB}"/>
    <dgm:cxn modelId="{509432D5-1357-45F5-A5C9-316A597BA53C}" type="presOf" srcId="{B5F47BDD-1F29-41E7-A074-1D987BC905DA}" destId="{D4D8A53A-D0D3-4159-A1DB-26CB42056F65}" srcOrd="0" destOrd="0" presId="urn:microsoft.com/office/officeart/2008/layout/AscendingPictureAccentProcess"/>
    <dgm:cxn modelId="{7AA32727-95CD-47BA-B269-55B05CEB153A}" type="presOf" srcId="{04D62670-29A2-4506-93F8-A0A05111FF3D}" destId="{F95305AF-B0C9-495A-A1A8-AAB23136F572}" srcOrd="0" destOrd="0" presId="urn:microsoft.com/office/officeart/2008/layout/AscendingPictureAccentProcess"/>
    <dgm:cxn modelId="{95A0CCD8-2A70-4711-BF8D-D3842C75A9BD}" srcId="{197CE5BF-4C99-4CC8-AAFF-6AED62ABB06E}" destId="{18265AD5-CC85-4277-9067-1DC99CAC5DBF}" srcOrd="2" destOrd="0" parTransId="{6FCE17D9-D651-43FD-865C-FBA111D57F7F}" sibTransId="{536BF8BE-EB70-4640-ABCE-475708835FFF}"/>
    <dgm:cxn modelId="{E76F1696-9581-43C9-B9FF-60E815B0A3C8}" type="presOf" srcId="{18265AD5-CC85-4277-9067-1DC99CAC5DBF}" destId="{667185C8-3788-4F99-A0B2-F50ADAD5F94B}" srcOrd="0" destOrd="0" presId="urn:microsoft.com/office/officeart/2008/layout/AscendingPictureAccentProcess"/>
    <dgm:cxn modelId="{DCEC944A-A907-449A-9ECC-123141F578D6}" type="presOf" srcId="{536BF8BE-EB70-4640-ABCE-475708835FFF}" destId="{718F6A20-5316-4437-BC6A-23604C3EB304}" srcOrd="0" destOrd="0" presId="urn:microsoft.com/office/officeart/2008/layout/AscendingPictureAccentProcess"/>
    <dgm:cxn modelId="{605FB7E8-9498-49F6-A7F9-4AAA0CB5A951}" type="presOf" srcId="{9C6CB77A-58F6-4D1A-9E91-B1CF0E011B16}" destId="{EFF19CEC-DA22-403A-808F-AD76E3A5E06C}" srcOrd="0" destOrd="0" presId="urn:microsoft.com/office/officeart/2008/layout/AscendingPictureAccentProcess"/>
    <dgm:cxn modelId="{8A717C78-3A4B-438A-A20F-3FBEFD4A2606}" type="presOf" srcId="{5AB0A2AC-2E26-4C9E-B2E0-AC80E9DF58DB}" destId="{D9C39670-B49F-416C-91F7-85029BC424BC}" srcOrd="0" destOrd="0" presId="urn:microsoft.com/office/officeart/2008/layout/AscendingPictureAccentProcess"/>
    <dgm:cxn modelId="{C711A888-8401-4662-A223-95929F36FD20}" type="presOf" srcId="{FF5FC139-7AE9-41E4-9AC2-D525B1FAF369}" destId="{0FDD5CB5-8F15-49C2-9524-C920895E577B}" srcOrd="0" destOrd="0" presId="urn:microsoft.com/office/officeart/2008/layout/AscendingPictureAccentProcess"/>
    <dgm:cxn modelId="{ACFCB123-3C33-477C-B4B3-3263EC1EDD8D}" type="presParOf" srcId="{3B2A6C25-2620-4258-BD39-82C4C99C743A}" destId="{435C8577-F5DA-407E-886B-BD21017EBF78}" srcOrd="0" destOrd="0" presId="urn:microsoft.com/office/officeart/2008/layout/AscendingPictureAccentProcess"/>
    <dgm:cxn modelId="{D52E71EC-AE7B-444B-A53C-C875154F4303}" type="presParOf" srcId="{3B2A6C25-2620-4258-BD39-82C4C99C743A}" destId="{46AA24DB-8E6F-46F7-B22F-5BDD57190465}" srcOrd="1" destOrd="0" presId="urn:microsoft.com/office/officeart/2008/layout/AscendingPictureAccentProcess"/>
    <dgm:cxn modelId="{3468D872-2DA7-4F2A-861A-BA569BBBBCD2}" type="presParOf" srcId="{3B2A6C25-2620-4258-BD39-82C4C99C743A}" destId="{E7D18A8E-C009-4715-BA8B-2B1A86C4457C}" srcOrd="2" destOrd="0" presId="urn:microsoft.com/office/officeart/2008/layout/AscendingPictureAccentProcess"/>
    <dgm:cxn modelId="{F45304E6-2A83-439A-9B1B-5EAF6B7D7B24}" type="presParOf" srcId="{3B2A6C25-2620-4258-BD39-82C4C99C743A}" destId="{F445C57C-AF46-46CB-8F03-EE7B042AA969}" srcOrd="3" destOrd="0" presId="urn:microsoft.com/office/officeart/2008/layout/AscendingPictureAccentProcess"/>
    <dgm:cxn modelId="{3D4808F8-C444-4404-8A7D-6CF174A5B507}" type="presParOf" srcId="{3B2A6C25-2620-4258-BD39-82C4C99C743A}" destId="{4281BA7B-8289-46E7-858B-E53D49813020}" srcOrd="4" destOrd="0" presId="urn:microsoft.com/office/officeart/2008/layout/AscendingPictureAccentProcess"/>
    <dgm:cxn modelId="{85934D2F-3302-453A-AFE9-03F7BAECD32F}" type="presParOf" srcId="{3B2A6C25-2620-4258-BD39-82C4C99C743A}" destId="{634E4EE0-2829-43AA-A195-7C372C871460}" srcOrd="5" destOrd="0" presId="urn:microsoft.com/office/officeart/2008/layout/AscendingPictureAccentProcess"/>
    <dgm:cxn modelId="{CEF71417-B68D-4636-8200-285EF42BEB3B}" type="presParOf" srcId="{3B2A6C25-2620-4258-BD39-82C4C99C743A}" destId="{5EBB7C8C-687C-4634-8688-84D2B134EF9A}" srcOrd="6" destOrd="0" presId="urn:microsoft.com/office/officeart/2008/layout/AscendingPictureAccentProcess"/>
    <dgm:cxn modelId="{D95B1803-2F8E-480A-8DF1-43A92506817F}" type="presParOf" srcId="{3B2A6C25-2620-4258-BD39-82C4C99C743A}" destId="{7F96D939-4310-4C75-8118-5A32FEE628EF}" srcOrd="7" destOrd="0" presId="urn:microsoft.com/office/officeart/2008/layout/AscendingPictureAccentProcess"/>
    <dgm:cxn modelId="{FC1C9AA3-535F-45F7-8F5A-49845D4CDE61}" type="presParOf" srcId="{3B2A6C25-2620-4258-BD39-82C4C99C743A}" destId="{13C2632D-911D-4760-A6EF-4713C81F7B2D}" srcOrd="8" destOrd="0" presId="urn:microsoft.com/office/officeart/2008/layout/AscendingPictureAccentProcess"/>
    <dgm:cxn modelId="{398872D9-B734-4048-8AC2-9BC07D002E17}" type="presParOf" srcId="{3B2A6C25-2620-4258-BD39-82C4C99C743A}" destId="{6E24B292-B58D-4DDE-8DEA-CD84A91844CF}" srcOrd="9" destOrd="0" presId="urn:microsoft.com/office/officeart/2008/layout/AscendingPictureAccentProcess"/>
    <dgm:cxn modelId="{10A27988-5941-4C08-A15E-9092EB7E4465}" type="presParOf" srcId="{3B2A6C25-2620-4258-BD39-82C4C99C743A}" destId="{A30CDB9E-FC0D-4369-9E90-1C5CF4B55505}" srcOrd="10" destOrd="0" presId="urn:microsoft.com/office/officeart/2008/layout/AscendingPictureAccentProcess"/>
    <dgm:cxn modelId="{B3762A34-C13C-44A2-9ECF-163B10CEEC16}" type="presParOf" srcId="{3B2A6C25-2620-4258-BD39-82C4C99C743A}" destId="{9E1E7FC8-E7BB-4C97-9FC9-D0DA8AA1734D}" srcOrd="11" destOrd="0" presId="urn:microsoft.com/office/officeart/2008/layout/AscendingPictureAccentProcess"/>
    <dgm:cxn modelId="{7C3B07C0-7B3A-46CC-BE3F-833C4E7204F2}" type="presParOf" srcId="{3B2A6C25-2620-4258-BD39-82C4C99C743A}" destId="{54025E44-C0D2-45EC-BAFA-1DDECDA9B00A}" srcOrd="12" destOrd="0" presId="urn:microsoft.com/office/officeart/2008/layout/AscendingPictureAccentProcess"/>
    <dgm:cxn modelId="{CFEDB5F0-FA42-43F2-A1AF-741B052A922E}" type="presParOf" srcId="{3B2A6C25-2620-4258-BD39-82C4C99C743A}" destId="{EFF19CEC-DA22-403A-808F-AD76E3A5E06C}" srcOrd="13" destOrd="0" presId="urn:microsoft.com/office/officeart/2008/layout/AscendingPictureAccentProcess"/>
    <dgm:cxn modelId="{CB7DF963-35A0-4EB8-897E-65A292D5B58B}" type="presParOf" srcId="{3B2A6C25-2620-4258-BD39-82C4C99C743A}" destId="{C9357526-3BA6-45E0-9F46-9AB49C2DBC9D}" srcOrd="14" destOrd="0" presId="urn:microsoft.com/office/officeart/2008/layout/AscendingPictureAccentProcess"/>
    <dgm:cxn modelId="{A87206B1-FF72-434F-9330-FA40A16A27DE}" type="presParOf" srcId="{C9357526-3BA6-45E0-9F46-9AB49C2DBC9D}" destId="{3DED6AD2-5E19-4882-9D1D-D811E1BDB48B}" srcOrd="0" destOrd="0" presId="urn:microsoft.com/office/officeart/2008/layout/AscendingPictureAccentProcess"/>
    <dgm:cxn modelId="{AE8A5681-0999-4690-92CD-9E2386D8EC27}" type="presParOf" srcId="{3B2A6C25-2620-4258-BD39-82C4C99C743A}" destId="{F95305AF-B0C9-495A-A1A8-AAB23136F572}" srcOrd="15" destOrd="0" presId="urn:microsoft.com/office/officeart/2008/layout/AscendingPictureAccentProcess"/>
    <dgm:cxn modelId="{23B9DDB7-69F8-4820-8567-DD522274C51D}" type="presParOf" srcId="{3B2A6C25-2620-4258-BD39-82C4C99C743A}" destId="{8EA6230C-0880-4D71-955C-3EC5AC8F7986}" srcOrd="16" destOrd="0" presId="urn:microsoft.com/office/officeart/2008/layout/AscendingPictureAccentProcess"/>
    <dgm:cxn modelId="{D6E2E80B-5861-4251-8508-A1A682C8D45B}" type="presParOf" srcId="{8EA6230C-0880-4D71-955C-3EC5AC8F7986}" destId="{D9C39670-B49F-416C-91F7-85029BC424BC}" srcOrd="0" destOrd="0" presId="urn:microsoft.com/office/officeart/2008/layout/AscendingPictureAccentProcess"/>
    <dgm:cxn modelId="{00C59C97-5A1B-45BD-8E20-8D3ED1EC5848}" type="presParOf" srcId="{3B2A6C25-2620-4258-BD39-82C4C99C743A}" destId="{667185C8-3788-4F99-A0B2-F50ADAD5F94B}" srcOrd="17" destOrd="0" presId="urn:microsoft.com/office/officeart/2008/layout/AscendingPictureAccentProcess"/>
    <dgm:cxn modelId="{879439E9-935C-4E79-8265-24016B5EB457}" type="presParOf" srcId="{3B2A6C25-2620-4258-BD39-82C4C99C743A}" destId="{2484D19B-FC6B-4700-B00D-1C0569FA5D5A}" srcOrd="18" destOrd="0" presId="urn:microsoft.com/office/officeart/2008/layout/AscendingPictureAccentProcess"/>
    <dgm:cxn modelId="{034ED324-E9D1-4B9D-9FE2-7EBD5A88ACF4}" type="presParOf" srcId="{2484D19B-FC6B-4700-B00D-1C0569FA5D5A}" destId="{718F6A20-5316-4437-BC6A-23604C3EB304}" srcOrd="0" destOrd="0" presId="urn:microsoft.com/office/officeart/2008/layout/AscendingPictureAccentProcess"/>
    <dgm:cxn modelId="{BB50D123-C21B-41B5-BCAD-1F55BFEFD1D6}" type="presParOf" srcId="{3B2A6C25-2620-4258-BD39-82C4C99C743A}" destId="{0FDD5CB5-8F15-49C2-9524-C920895E577B}" srcOrd="19" destOrd="0" presId="urn:microsoft.com/office/officeart/2008/layout/AscendingPictureAccentProcess"/>
    <dgm:cxn modelId="{AFE086EC-018C-40F3-83EE-1000862B2EB8}" type="presParOf" srcId="{3B2A6C25-2620-4258-BD39-82C4C99C743A}" destId="{B205A2F0-7656-4A50-A4F0-2955B11CF82B}" srcOrd="20" destOrd="0" presId="urn:microsoft.com/office/officeart/2008/layout/AscendingPictureAccentProcess"/>
    <dgm:cxn modelId="{E2BF36FA-1C0A-4532-83E9-6828F8BDCC77}" type="presParOf" srcId="{B205A2F0-7656-4A50-A4F0-2955B11CF82B}" destId="{D4D8A53A-D0D3-4159-A1DB-26CB42056F65}" srcOrd="0" destOrd="0" presId="urn:microsoft.com/office/officeart/2008/layout/AscendingPictureAccent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64114F96-9422-46FB-90DD-A33524F32E63}" type="doc">
      <dgm:prSet loTypeId="urn:microsoft.com/office/officeart/2005/8/layout/process1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217CE6B-8A7E-46F0-A482-BA06E025063B}">
      <dgm:prSet phldrT="[Text]"/>
      <dgm:spPr/>
      <dgm:t>
        <a:bodyPr/>
        <a:lstStyle/>
        <a:p>
          <a:r>
            <a:rPr lang="en-US" dirty="0"/>
            <a:t>Requirements</a:t>
          </a:r>
        </a:p>
      </dgm:t>
    </dgm:pt>
    <dgm:pt modelId="{59A36406-0419-45C4-91A9-F1A10C407024}" type="parTrans" cxnId="{BF69DCFA-DB7D-47FB-A7B0-6802A8D8C833}">
      <dgm:prSet/>
      <dgm:spPr/>
      <dgm:t>
        <a:bodyPr/>
        <a:lstStyle/>
        <a:p>
          <a:endParaRPr lang="en-US"/>
        </a:p>
      </dgm:t>
    </dgm:pt>
    <dgm:pt modelId="{B9E8E2A0-A105-4D82-A708-1279C063D334}" type="sibTrans" cxnId="{BF69DCFA-DB7D-47FB-A7B0-6802A8D8C833}">
      <dgm:prSet/>
      <dgm:spPr/>
      <dgm:t>
        <a:bodyPr/>
        <a:lstStyle/>
        <a:p>
          <a:endParaRPr lang="en-US" dirty="0"/>
        </a:p>
      </dgm:t>
    </dgm:pt>
    <dgm:pt modelId="{73842BB6-D258-4874-8BCF-42D29B456214}">
      <dgm:prSet phldrT="[Text]"/>
      <dgm:spPr/>
      <dgm:t>
        <a:bodyPr/>
        <a:lstStyle/>
        <a:p>
          <a:r>
            <a:rPr lang="en-US" dirty="0"/>
            <a:t>Level</a:t>
          </a:r>
        </a:p>
      </dgm:t>
    </dgm:pt>
    <dgm:pt modelId="{66D3F7A3-FAC5-4F53-9E75-E714B4314085}" type="parTrans" cxnId="{E2B34E14-8A12-4F76-9A5B-E4E47E643D68}">
      <dgm:prSet/>
      <dgm:spPr/>
      <dgm:t>
        <a:bodyPr/>
        <a:lstStyle/>
        <a:p>
          <a:endParaRPr lang="en-US"/>
        </a:p>
      </dgm:t>
    </dgm:pt>
    <dgm:pt modelId="{E7F31AF6-390F-485A-9EDE-16905F09DA5B}" type="sibTrans" cxnId="{E2B34E14-8A12-4F76-9A5B-E4E47E643D68}">
      <dgm:prSet/>
      <dgm:spPr/>
      <dgm:t>
        <a:bodyPr/>
        <a:lstStyle/>
        <a:p>
          <a:endParaRPr lang="en-US"/>
        </a:p>
      </dgm:t>
    </dgm:pt>
    <dgm:pt modelId="{69E4EAE5-FAC7-4529-9987-1B290D9B0F3C}">
      <dgm:prSet phldrT="[Text]"/>
      <dgm:spPr/>
      <dgm:t>
        <a:bodyPr/>
        <a:lstStyle/>
        <a:p>
          <a:r>
            <a:rPr lang="en-US" dirty="0"/>
            <a:t>AUT</a:t>
          </a:r>
        </a:p>
      </dgm:t>
    </dgm:pt>
    <dgm:pt modelId="{1DEB554A-BBD3-4F3A-91A7-747E482300FF}" type="parTrans" cxnId="{64969EBA-643F-4305-824F-FBBFFCEBB03C}">
      <dgm:prSet/>
      <dgm:spPr/>
      <dgm:t>
        <a:bodyPr/>
        <a:lstStyle/>
        <a:p>
          <a:endParaRPr lang="en-US"/>
        </a:p>
      </dgm:t>
    </dgm:pt>
    <dgm:pt modelId="{3CD41224-F843-428A-AEDA-BBC5775B9D78}" type="sibTrans" cxnId="{64969EBA-643F-4305-824F-FBBFFCEBB03C}">
      <dgm:prSet/>
      <dgm:spPr/>
      <dgm:t>
        <a:bodyPr/>
        <a:lstStyle/>
        <a:p>
          <a:endParaRPr lang="en-US"/>
        </a:p>
      </dgm:t>
    </dgm:pt>
    <dgm:pt modelId="{1CAECC1B-C387-4706-BADB-91DAB95DC5AC}" type="pres">
      <dgm:prSet presAssocID="{64114F96-9422-46FB-90DD-A33524F32E63}" presName="Name0" presStyleCnt="0">
        <dgm:presLayoutVars>
          <dgm:dir/>
          <dgm:resizeHandles val="exact"/>
        </dgm:presLayoutVars>
      </dgm:prSet>
      <dgm:spPr/>
    </dgm:pt>
    <dgm:pt modelId="{CCA7E40E-0E02-4C85-A5D6-BE0E982B7A13}" type="pres">
      <dgm:prSet presAssocID="{4217CE6B-8A7E-46F0-A482-BA06E025063B}" presName="node" presStyleLbl="node1" presStyleIdx="0" presStyleCnt="3">
        <dgm:presLayoutVars>
          <dgm:bulletEnabled val="1"/>
        </dgm:presLayoutVars>
      </dgm:prSet>
      <dgm:spPr/>
    </dgm:pt>
    <dgm:pt modelId="{63101B15-A7BE-478E-BF09-73699C4F3779}" type="pres">
      <dgm:prSet presAssocID="{B9E8E2A0-A105-4D82-A708-1279C063D334}" presName="sibTrans" presStyleLbl="sibTrans2D1" presStyleIdx="0" presStyleCnt="2" custLinFactNeighborX="-3391" custLinFactNeighborY="-59305"/>
      <dgm:spPr/>
    </dgm:pt>
    <dgm:pt modelId="{3DDCDC1F-F87B-45C7-AFBB-08CE7EDC6740}" type="pres">
      <dgm:prSet presAssocID="{B9E8E2A0-A105-4D82-A708-1279C063D334}" presName="connectorText" presStyleLbl="sibTrans2D1" presStyleIdx="0" presStyleCnt="2"/>
      <dgm:spPr/>
    </dgm:pt>
    <dgm:pt modelId="{05A15DB5-577A-4383-8F0D-F1E491009276}" type="pres">
      <dgm:prSet presAssocID="{73842BB6-D258-4874-8BCF-42D29B456214}" presName="node" presStyleLbl="node1" presStyleIdx="1" presStyleCnt="3">
        <dgm:presLayoutVars>
          <dgm:bulletEnabled val="1"/>
        </dgm:presLayoutVars>
      </dgm:prSet>
      <dgm:spPr/>
    </dgm:pt>
    <dgm:pt modelId="{0E0715D8-3FDB-49B0-88D6-19AFF0597112}" type="pres">
      <dgm:prSet presAssocID="{E7F31AF6-390F-485A-9EDE-16905F09DA5B}" presName="sibTrans" presStyleLbl="sibTrans2D1" presStyleIdx="1" presStyleCnt="2" custLinFactNeighborX="-1603" custLinFactNeighborY="-64410"/>
      <dgm:spPr/>
    </dgm:pt>
    <dgm:pt modelId="{5463CC33-2B04-4F33-8D4D-92F222DFE768}" type="pres">
      <dgm:prSet presAssocID="{E7F31AF6-390F-485A-9EDE-16905F09DA5B}" presName="connectorText" presStyleLbl="sibTrans2D1" presStyleIdx="1" presStyleCnt="2"/>
      <dgm:spPr/>
    </dgm:pt>
    <dgm:pt modelId="{E938938B-1910-4066-BEB3-8F09EDF4E2CF}" type="pres">
      <dgm:prSet presAssocID="{69E4EAE5-FAC7-4529-9987-1B290D9B0F3C}" presName="node" presStyleLbl="node1" presStyleIdx="2" presStyleCnt="3">
        <dgm:presLayoutVars>
          <dgm:bulletEnabled val="1"/>
        </dgm:presLayoutVars>
      </dgm:prSet>
      <dgm:spPr/>
    </dgm:pt>
  </dgm:ptLst>
  <dgm:cxnLst>
    <dgm:cxn modelId="{2D673286-14BD-45EA-A70C-19D25B7D06C9}" type="presOf" srcId="{69E4EAE5-FAC7-4529-9987-1B290D9B0F3C}" destId="{E938938B-1910-4066-BEB3-8F09EDF4E2CF}" srcOrd="0" destOrd="0" presId="urn:microsoft.com/office/officeart/2005/8/layout/process1"/>
    <dgm:cxn modelId="{45552BDD-B3A2-4CCE-BFD9-EB55625343B1}" type="presOf" srcId="{73842BB6-D258-4874-8BCF-42D29B456214}" destId="{05A15DB5-577A-4383-8F0D-F1E491009276}" srcOrd="0" destOrd="0" presId="urn:microsoft.com/office/officeart/2005/8/layout/process1"/>
    <dgm:cxn modelId="{B1C621E7-864D-41AB-A450-75E4F524E3C0}" type="presOf" srcId="{B9E8E2A0-A105-4D82-A708-1279C063D334}" destId="{3DDCDC1F-F87B-45C7-AFBB-08CE7EDC6740}" srcOrd="1" destOrd="0" presId="urn:microsoft.com/office/officeart/2005/8/layout/process1"/>
    <dgm:cxn modelId="{64969EBA-643F-4305-824F-FBBFFCEBB03C}" srcId="{64114F96-9422-46FB-90DD-A33524F32E63}" destId="{69E4EAE5-FAC7-4529-9987-1B290D9B0F3C}" srcOrd="2" destOrd="0" parTransId="{1DEB554A-BBD3-4F3A-91A7-747E482300FF}" sibTransId="{3CD41224-F843-428A-AEDA-BBC5775B9D78}"/>
    <dgm:cxn modelId="{862D2F0D-226F-45BF-A141-1A561235B84B}" type="presOf" srcId="{E7F31AF6-390F-485A-9EDE-16905F09DA5B}" destId="{5463CC33-2B04-4F33-8D4D-92F222DFE768}" srcOrd="1" destOrd="0" presId="urn:microsoft.com/office/officeart/2005/8/layout/process1"/>
    <dgm:cxn modelId="{A011457A-3216-40FA-8C53-813C392905B6}" type="presOf" srcId="{64114F96-9422-46FB-90DD-A33524F32E63}" destId="{1CAECC1B-C387-4706-BADB-91DAB95DC5AC}" srcOrd="0" destOrd="0" presId="urn:microsoft.com/office/officeart/2005/8/layout/process1"/>
    <dgm:cxn modelId="{3B79E1F2-98C2-4E30-B4FC-15872B8C1EC6}" type="presOf" srcId="{B9E8E2A0-A105-4D82-A708-1279C063D334}" destId="{63101B15-A7BE-478E-BF09-73699C4F3779}" srcOrd="0" destOrd="0" presId="urn:microsoft.com/office/officeart/2005/8/layout/process1"/>
    <dgm:cxn modelId="{E2B34E14-8A12-4F76-9A5B-E4E47E643D68}" srcId="{64114F96-9422-46FB-90DD-A33524F32E63}" destId="{73842BB6-D258-4874-8BCF-42D29B456214}" srcOrd="1" destOrd="0" parTransId="{66D3F7A3-FAC5-4F53-9E75-E714B4314085}" sibTransId="{E7F31AF6-390F-485A-9EDE-16905F09DA5B}"/>
    <dgm:cxn modelId="{EFC36C7A-7FCD-42CD-9597-82E06CCA1EC9}" type="presOf" srcId="{4217CE6B-8A7E-46F0-A482-BA06E025063B}" destId="{CCA7E40E-0E02-4C85-A5D6-BE0E982B7A13}" srcOrd="0" destOrd="0" presId="urn:microsoft.com/office/officeart/2005/8/layout/process1"/>
    <dgm:cxn modelId="{BF69DCFA-DB7D-47FB-A7B0-6802A8D8C833}" srcId="{64114F96-9422-46FB-90DD-A33524F32E63}" destId="{4217CE6B-8A7E-46F0-A482-BA06E025063B}" srcOrd="0" destOrd="0" parTransId="{59A36406-0419-45C4-91A9-F1A10C407024}" sibTransId="{B9E8E2A0-A105-4D82-A708-1279C063D334}"/>
    <dgm:cxn modelId="{964070DC-1B69-412F-93AB-F28CE983A70D}" type="presOf" srcId="{E7F31AF6-390F-485A-9EDE-16905F09DA5B}" destId="{0E0715D8-3FDB-49B0-88D6-19AFF0597112}" srcOrd="0" destOrd="0" presId="urn:microsoft.com/office/officeart/2005/8/layout/process1"/>
    <dgm:cxn modelId="{8AD3D265-5EA5-493B-877A-FEAA80B6751D}" type="presParOf" srcId="{1CAECC1B-C387-4706-BADB-91DAB95DC5AC}" destId="{CCA7E40E-0E02-4C85-A5D6-BE0E982B7A13}" srcOrd="0" destOrd="0" presId="urn:microsoft.com/office/officeart/2005/8/layout/process1"/>
    <dgm:cxn modelId="{09D23340-CF73-42A0-80F0-EBE9038C124A}" type="presParOf" srcId="{1CAECC1B-C387-4706-BADB-91DAB95DC5AC}" destId="{63101B15-A7BE-478E-BF09-73699C4F3779}" srcOrd="1" destOrd="0" presId="urn:microsoft.com/office/officeart/2005/8/layout/process1"/>
    <dgm:cxn modelId="{A0326D01-0CFB-41C5-84D4-BCED05FF319D}" type="presParOf" srcId="{63101B15-A7BE-478E-BF09-73699C4F3779}" destId="{3DDCDC1F-F87B-45C7-AFBB-08CE7EDC6740}" srcOrd="0" destOrd="0" presId="urn:microsoft.com/office/officeart/2005/8/layout/process1"/>
    <dgm:cxn modelId="{BFA7A5CE-0733-4A34-B2EC-ED34A92DDE90}" type="presParOf" srcId="{1CAECC1B-C387-4706-BADB-91DAB95DC5AC}" destId="{05A15DB5-577A-4383-8F0D-F1E491009276}" srcOrd="2" destOrd="0" presId="urn:microsoft.com/office/officeart/2005/8/layout/process1"/>
    <dgm:cxn modelId="{1FA6FB60-129D-4098-B5B9-2AD3FAF765F4}" type="presParOf" srcId="{1CAECC1B-C387-4706-BADB-91DAB95DC5AC}" destId="{0E0715D8-3FDB-49B0-88D6-19AFF0597112}" srcOrd="3" destOrd="0" presId="urn:microsoft.com/office/officeart/2005/8/layout/process1"/>
    <dgm:cxn modelId="{0688E700-A24E-4090-94BF-905A31E09902}" type="presParOf" srcId="{0E0715D8-3FDB-49B0-88D6-19AFF0597112}" destId="{5463CC33-2B04-4F33-8D4D-92F222DFE768}" srcOrd="0" destOrd="0" presId="urn:microsoft.com/office/officeart/2005/8/layout/process1"/>
    <dgm:cxn modelId="{C2E5A1E9-AFF1-4EAB-9865-EEF333605E37}" type="presParOf" srcId="{1CAECC1B-C387-4706-BADB-91DAB95DC5AC}" destId="{E938938B-1910-4066-BEB3-8F09EDF4E2CF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B42E88F-B77C-4052-A9B8-038F6247802F}" type="doc">
      <dgm:prSet loTypeId="urn:microsoft.com/office/officeart/2005/8/layout/radial5" loCatId="relationship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F238269B-A632-43CF-ABF0-821D164D4F0D}">
      <dgm:prSet phldrT="[Text]" custT="1"/>
      <dgm:spPr/>
      <dgm:t>
        <a:bodyPr/>
        <a:lstStyle/>
        <a:p>
          <a:r>
            <a:rPr lang="en-US" sz="1300" dirty="0"/>
            <a:t>NFT</a:t>
          </a:r>
        </a:p>
        <a:p>
          <a:r>
            <a:rPr lang="en-US" sz="1300" dirty="0"/>
            <a:t>Manager</a:t>
          </a:r>
        </a:p>
      </dgm:t>
    </dgm:pt>
    <dgm:pt modelId="{627ACC97-389D-4036-8224-A5CF273F6C46}" type="parTrans" cxnId="{922455FA-43B8-46F4-B12A-D44508A88B71}">
      <dgm:prSet/>
      <dgm:spPr/>
      <dgm:t>
        <a:bodyPr/>
        <a:lstStyle/>
        <a:p>
          <a:endParaRPr lang="en-US"/>
        </a:p>
      </dgm:t>
    </dgm:pt>
    <dgm:pt modelId="{89398148-81AE-468D-B592-F92A38226475}" type="sibTrans" cxnId="{922455FA-43B8-46F4-B12A-D44508A88B71}">
      <dgm:prSet/>
      <dgm:spPr/>
      <dgm:t>
        <a:bodyPr/>
        <a:lstStyle/>
        <a:p>
          <a:endParaRPr lang="en-US"/>
        </a:p>
      </dgm:t>
    </dgm:pt>
    <dgm:pt modelId="{F8ABF7D7-C9F9-4A25-A711-C6B208B5D39B}">
      <dgm:prSet phldrT="[Text]" custT="1"/>
      <dgm:spPr/>
      <dgm:t>
        <a:bodyPr/>
        <a:lstStyle/>
        <a:p>
          <a:r>
            <a:rPr lang="en-US" sz="1300" dirty="0"/>
            <a:t>Project Manager</a:t>
          </a:r>
        </a:p>
      </dgm:t>
    </dgm:pt>
    <dgm:pt modelId="{DE8C7434-8EBF-4E09-898F-E1015BE03829}" type="parTrans" cxnId="{CE9C3DC7-0384-43D4-B36D-128216DBED4B}">
      <dgm:prSet/>
      <dgm:spPr/>
      <dgm:t>
        <a:bodyPr/>
        <a:lstStyle/>
        <a:p>
          <a:endParaRPr lang="en-US"/>
        </a:p>
      </dgm:t>
    </dgm:pt>
    <dgm:pt modelId="{945BC8E3-406E-4B45-B6F7-AE7DD8182AAE}" type="sibTrans" cxnId="{CE9C3DC7-0384-43D4-B36D-128216DBED4B}">
      <dgm:prSet/>
      <dgm:spPr/>
      <dgm:t>
        <a:bodyPr/>
        <a:lstStyle/>
        <a:p>
          <a:endParaRPr lang="en-US"/>
        </a:p>
      </dgm:t>
    </dgm:pt>
    <dgm:pt modelId="{25BEBC94-9644-4C8F-9BC5-096958B93142}">
      <dgm:prSet phldrT="[Text]" custT="1"/>
      <dgm:spPr/>
      <dgm:t>
        <a:bodyPr/>
        <a:lstStyle/>
        <a:p>
          <a:r>
            <a:rPr lang="en-US" sz="1300" dirty="0"/>
            <a:t>Test </a:t>
          </a:r>
          <a:r>
            <a:rPr lang="en-US" sz="1300" dirty="0" err="1"/>
            <a:t>Env</a:t>
          </a:r>
          <a:endParaRPr lang="en-US" sz="1300" dirty="0"/>
        </a:p>
        <a:p>
          <a:r>
            <a:rPr lang="en-US" sz="1300" dirty="0"/>
            <a:t>Manager</a:t>
          </a:r>
        </a:p>
      </dgm:t>
    </dgm:pt>
    <dgm:pt modelId="{D3A0C2DC-D186-4E99-95B5-A727EAEBC33C}" type="parTrans" cxnId="{A8864D4D-6AE4-419E-AF82-7397664C00D2}">
      <dgm:prSet/>
      <dgm:spPr/>
      <dgm:t>
        <a:bodyPr/>
        <a:lstStyle/>
        <a:p>
          <a:endParaRPr lang="en-US"/>
        </a:p>
      </dgm:t>
    </dgm:pt>
    <dgm:pt modelId="{640E6C3B-7D66-4BBD-B727-C236E5D6C46D}" type="sibTrans" cxnId="{A8864D4D-6AE4-419E-AF82-7397664C00D2}">
      <dgm:prSet/>
      <dgm:spPr/>
      <dgm:t>
        <a:bodyPr/>
        <a:lstStyle/>
        <a:p>
          <a:endParaRPr lang="en-US"/>
        </a:p>
      </dgm:t>
    </dgm:pt>
    <dgm:pt modelId="{D25BEA7B-7F18-4407-87DD-163C9962BD0D}">
      <dgm:prSet phldrT="[Text]" custT="1"/>
      <dgm:spPr/>
      <dgm:t>
        <a:bodyPr/>
        <a:lstStyle/>
        <a:p>
          <a:r>
            <a:rPr lang="en-US" sz="1300" dirty="0"/>
            <a:t>Functional Test Manager</a:t>
          </a:r>
        </a:p>
      </dgm:t>
    </dgm:pt>
    <dgm:pt modelId="{3A5CB247-0394-4A5C-A417-909D921AC68B}" type="parTrans" cxnId="{7AC5E56A-6687-46FE-B8EA-5FB7EABE72F8}">
      <dgm:prSet/>
      <dgm:spPr/>
      <dgm:t>
        <a:bodyPr/>
        <a:lstStyle/>
        <a:p>
          <a:endParaRPr lang="en-US"/>
        </a:p>
      </dgm:t>
    </dgm:pt>
    <dgm:pt modelId="{9FE9FEC0-4082-4A5A-958C-94C260A63D9F}" type="sibTrans" cxnId="{7AC5E56A-6687-46FE-B8EA-5FB7EABE72F8}">
      <dgm:prSet/>
      <dgm:spPr/>
      <dgm:t>
        <a:bodyPr/>
        <a:lstStyle/>
        <a:p>
          <a:endParaRPr lang="en-US"/>
        </a:p>
      </dgm:t>
    </dgm:pt>
    <dgm:pt modelId="{6258BE0C-567A-446E-99ED-5CC5ABCBA308}">
      <dgm:prSet phldrT="[Text]" custT="1"/>
      <dgm:spPr/>
      <dgm:t>
        <a:bodyPr/>
        <a:lstStyle/>
        <a:p>
          <a:r>
            <a:rPr lang="en-US" sz="1100" dirty="0"/>
            <a:t>Development</a:t>
          </a:r>
        </a:p>
        <a:p>
          <a:pPr lvl="0"/>
          <a:r>
            <a:rPr lang="en-US" sz="1100" dirty="0"/>
            <a:t>Manager</a:t>
          </a:r>
        </a:p>
      </dgm:t>
    </dgm:pt>
    <dgm:pt modelId="{7A3AC0A9-9E99-40F4-990E-E2AAEE727439}" type="parTrans" cxnId="{E9CFFB5B-4AE8-4E74-9C82-E3BCACAD0560}">
      <dgm:prSet/>
      <dgm:spPr/>
      <dgm:t>
        <a:bodyPr/>
        <a:lstStyle/>
        <a:p>
          <a:endParaRPr lang="en-US"/>
        </a:p>
      </dgm:t>
    </dgm:pt>
    <dgm:pt modelId="{DAAAE580-60A0-41BD-9CA9-D420445FB5AE}" type="sibTrans" cxnId="{E9CFFB5B-4AE8-4E74-9C82-E3BCACAD0560}">
      <dgm:prSet/>
      <dgm:spPr/>
      <dgm:t>
        <a:bodyPr/>
        <a:lstStyle/>
        <a:p>
          <a:endParaRPr lang="en-US"/>
        </a:p>
      </dgm:t>
    </dgm:pt>
    <dgm:pt modelId="{5F215EC4-C407-46FB-86E7-02FB36081E0A}">
      <dgm:prSet phldrT="[Text]" custT="1"/>
      <dgm:spPr/>
      <dgm:t>
        <a:bodyPr/>
        <a:lstStyle/>
        <a:p>
          <a:r>
            <a:rPr lang="en-US" sz="1300" dirty="0"/>
            <a:t>Project</a:t>
          </a:r>
        </a:p>
        <a:p>
          <a:r>
            <a:rPr lang="en-US" sz="1300" dirty="0"/>
            <a:t>Architect</a:t>
          </a:r>
        </a:p>
      </dgm:t>
    </dgm:pt>
    <dgm:pt modelId="{9C8F5F4F-1E88-456A-8F23-1A507CE06B26}" type="parTrans" cxnId="{2D1F936B-FEB7-4E24-847D-28D80E527B14}">
      <dgm:prSet/>
      <dgm:spPr/>
      <dgm:t>
        <a:bodyPr/>
        <a:lstStyle/>
        <a:p>
          <a:endParaRPr lang="en-US"/>
        </a:p>
      </dgm:t>
    </dgm:pt>
    <dgm:pt modelId="{0EB46597-453B-4A70-BEA6-D528A19FC377}" type="sibTrans" cxnId="{2D1F936B-FEB7-4E24-847D-28D80E527B14}">
      <dgm:prSet/>
      <dgm:spPr/>
      <dgm:t>
        <a:bodyPr/>
        <a:lstStyle/>
        <a:p>
          <a:endParaRPr lang="en-US"/>
        </a:p>
      </dgm:t>
    </dgm:pt>
    <dgm:pt modelId="{21733E7F-FAC3-490D-ADB4-A6DCB3860810}" type="pres">
      <dgm:prSet presAssocID="{9B42E88F-B77C-4052-A9B8-038F6247802F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21998D32-BA64-4032-A83C-566EEB99D31F}" type="pres">
      <dgm:prSet presAssocID="{F238269B-A632-43CF-ABF0-821D164D4F0D}" presName="centerShape" presStyleLbl="node0" presStyleIdx="0" presStyleCnt="1"/>
      <dgm:spPr/>
    </dgm:pt>
    <dgm:pt modelId="{B79D6334-4F12-4ECC-8828-28506251DBD7}" type="pres">
      <dgm:prSet presAssocID="{DE8C7434-8EBF-4E09-898F-E1015BE03829}" presName="parTrans" presStyleLbl="sibTrans2D1" presStyleIdx="0" presStyleCnt="5"/>
      <dgm:spPr/>
    </dgm:pt>
    <dgm:pt modelId="{10F92533-C1C4-49AA-90BE-E4B5CCF9642C}" type="pres">
      <dgm:prSet presAssocID="{DE8C7434-8EBF-4E09-898F-E1015BE03829}" presName="connectorText" presStyleLbl="sibTrans2D1" presStyleIdx="0" presStyleCnt="5"/>
      <dgm:spPr/>
    </dgm:pt>
    <dgm:pt modelId="{DC3215AC-6DE6-4E68-9BB7-4E5947EEBF39}" type="pres">
      <dgm:prSet presAssocID="{F8ABF7D7-C9F9-4A25-A711-C6B208B5D39B}" presName="node" presStyleLbl="node1" presStyleIdx="0" presStyleCnt="5" custRadScaleRad="101006" custRadScaleInc="3109">
        <dgm:presLayoutVars>
          <dgm:bulletEnabled val="1"/>
        </dgm:presLayoutVars>
      </dgm:prSet>
      <dgm:spPr/>
    </dgm:pt>
    <dgm:pt modelId="{2EF1EF4B-F704-4823-8C0A-253E052A77EA}" type="pres">
      <dgm:prSet presAssocID="{D3A0C2DC-D186-4E99-95B5-A727EAEBC33C}" presName="parTrans" presStyleLbl="sibTrans2D1" presStyleIdx="1" presStyleCnt="5"/>
      <dgm:spPr/>
    </dgm:pt>
    <dgm:pt modelId="{6C508F1F-BFBB-4530-9FE0-7CE5621A5CC6}" type="pres">
      <dgm:prSet presAssocID="{D3A0C2DC-D186-4E99-95B5-A727EAEBC33C}" presName="connectorText" presStyleLbl="sibTrans2D1" presStyleIdx="1" presStyleCnt="5"/>
      <dgm:spPr/>
    </dgm:pt>
    <dgm:pt modelId="{8A24D106-BD03-42EA-96C9-2017A5FCF310}" type="pres">
      <dgm:prSet presAssocID="{25BEBC94-9644-4C8F-9BC5-096958B93142}" presName="node" presStyleLbl="node1" presStyleIdx="1" presStyleCnt="5">
        <dgm:presLayoutVars>
          <dgm:bulletEnabled val="1"/>
        </dgm:presLayoutVars>
      </dgm:prSet>
      <dgm:spPr/>
    </dgm:pt>
    <dgm:pt modelId="{97AA6629-4E0D-4CD2-8967-DCFCC33824DE}" type="pres">
      <dgm:prSet presAssocID="{3A5CB247-0394-4A5C-A417-909D921AC68B}" presName="parTrans" presStyleLbl="sibTrans2D1" presStyleIdx="2" presStyleCnt="5"/>
      <dgm:spPr/>
    </dgm:pt>
    <dgm:pt modelId="{76AA5ED0-76FF-4706-BC00-63B0BFB6762D}" type="pres">
      <dgm:prSet presAssocID="{3A5CB247-0394-4A5C-A417-909D921AC68B}" presName="connectorText" presStyleLbl="sibTrans2D1" presStyleIdx="2" presStyleCnt="5"/>
      <dgm:spPr/>
    </dgm:pt>
    <dgm:pt modelId="{4C70FAF0-E586-4E2C-B501-3EE3DA5F41D7}" type="pres">
      <dgm:prSet presAssocID="{D25BEA7B-7F18-4407-87DD-163C9962BD0D}" presName="node" presStyleLbl="node1" presStyleIdx="2" presStyleCnt="5">
        <dgm:presLayoutVars>
          <dgm:bulletEnabled val="1"/>
        </dgm:presLayoutVars>
      </dgm:prSet>
      <dgm:spPr/>
    </dgm:pt>
    <dgm:pt modelId="{FD7D8C4A-6282-4C07-B4E7-D17C05AFA9C6}" type="pres">
      <dgm:prSet presAssocID="{7A3AC0A9-9E99-40F4-990E-E2AAEE727439}" presName="parTrans" presStyleLbl="sibTrans2D1" presStyleIdx="3" presStyleCnt="5"/>
      <dgm:spPr/>
    </dgm:pt>
    <dgm:pt modelId="{61BBEFEF-2E95-4068-BD51-034C20117B8B}" type="pres">
      <dgm:prSet presAssocID="{7A3AC0A9-9E99-40F4-990E-E2AAEE727439}" presName="connectorText" presStyleLbl="sibTrans2D1" presStyleIdx="3" presStyleCnt="5"/>
      <dgm:spPr/>
    </dgm:pt>
    <dgm:pt modelId="{88FABDD7-C0A3-44FA-93A3-844313319D5E}" type="pres">
      <dgm:prSet presAssocID="{6258BE0C-567A-446E-99ED-5CC5ABCBA308}" presName="node" presStyleLbl="node1" presStyleIdx="3" presStyleCnt="5">
        <dgm:presLayoutVars>
          <dgm:bulletEnabled val="1"/>
        </dgm:presLayoutVars>
      </dgm:prSet>
      <dgm:spPr/>
    </dgm:pt>
    <dgm:pt modelId="{79A2B4C5-AF94-4437-9C98-7634A2B1D799}" type="pres">
      <dgm:prSet presAssocID="{9C8F5F4F-1E88-456A-8F23-1A507CE06B26}" presName="parTrans" presStyleLbl="sibTrans2D1" presStyleIdx="4" presStyleCnt="5"/>
      <dgm:spPr/>
    </dgm:pt>
    <dgm:pt modelId="{150A7286-9656-492C-9FBC-F058E860B87D}" type="pres">
      <dgm:prSet presAssocID="{9C8F5F4F-1E88-456A-8F23-1A507CE06B26}" presName="connectorText" presStyleLbl="sibTrans2D1" presStyleIdx="4" presStyleCnt="5"/>
      <dgm:spPr/>
    </dgm:pt>
    <dgm:pt modelId="{23885BDE-6939-4D59-8AFB-FBB21C20F81C}" type="pres">
      <dgm:prSet presAssocID="{5F215EC4-C407-46FB-86E7-02FB36081E0A}" presName="node" presStyleLbl="node1" presStyleIdx="4" presStyleCnt="5">
        <dgm:presLayoutVars>
          <dgm:bulletEnabled val="1"/>
        </dgm:presLayoutVars>
      </dgm:prSet>
      <dgm:spPr/>
    </dgm:pt>
  </dgm:ptLst>
  <dgm:cxnLst>
    <dgm:cxn modelId="{922455FA-43B8-46F4-B12A-D44508A88B71}" srcId="{9B42E88F-B77C-4052-A9B8-038F6247802F}" destId="{F238269B-A632-43CF-ABF0-821D164D4F0D}" srcOrd="0" destOrd="0" parTransId="{627ACC97-389D-4036-8224-A5CF273F6C46}" sibTransId="{89398148-81AE-468D-B592-F92A38226475}"/>
    <dgm:cxn modelId="{BF54358B-1786-4CB2-8AE8-10B0817F691D}" type="presOf" srcId="{6258BE0C-567A-446E-99ED-5CC5ABCBA308}" destId="{88FABDD7-C0A3-44FA-93A3-844313319D5E}" srcOrd="0" destOrd="0" presId="urn:microsoft.com/office/officeart/2005/8/layout/radial5"/>
    <dgm:cxn modelId="{0C65F361-0347-4E5E-ACE0-2290DF52DD5E}" type="presOf" srcId="{D25BEA7B-7F18-4407-87DD-163C9962BD0D}" destId="{4C70FAF0-E586-4E2C-B501-3EE3DA5F41D7}" srcOrd="0" destOrd="0" presId="urn:microsoft.com/office/officeart/2005/8/layout/radial5"/>
    <dgm:cxn modelId="{AD46BE9D-EAEE-48EC-BD2C-C80B746A69A1}" type="presOf" srcId="{D3A0C2DC-D186-4E99-95B5-A727EAEBC33C}" destId="{6C508F1F-BFBB-4530-9FE0-7CE5621A5CC6}" srcOrd="1" destOrd="0" presId="urn:microsoft.com/office/officeart/2005/8/layout/radial5"/>
    <dgm:cxn modelId="{82172ADD-5CD7-4336-BB8F-D370561C1C78}" type="presOf" srcId="{F8ABF7D7-C9F9-4A25-A711-C6B208B5D39B}" destId="{DC3215AC-6DE6-4E68-9BB7-4E5947EEBF39}" srcOrd="0" destOrd="0" presId="urn:microsoft.com/office/officeart/2005/8/layout/radial5"/>
    <dgm:cxn modelId="{2D1F936B-FEB7-4E24-847D-28D80E527B14}" srcId="{F238269B-A632-43CF-ABF0-821D164D4F0D}" destId="{5F215EC4-C407-46FB-86E7-02FB36081E0A}" srcOrd="4" destOrd="0" parTransId="{9C8F5F4F-1E88-456A-8F23-1A507CE06B26}" sibTransId="{0EB46597-453B-4A70-BEA6-D528A19FC377}"/>
    <dgm:cxn modelId="{E9CFFB5B-4AE8-4E74-9C82-E3BCACAD0560}" srcId="{F238269B-A632-43CF-ABF0-821D164D4F0D}" destId="{6258BE0C-567A-446E-99ED-5CC5ABCBA308}" srcOrd="3" destOrd="0" parTransId="{7A3AC0A9-9E99-40F4-990E-E2AAEE727439}" sibTransId="{DAAAE580-60A0-41BD-9CA9-D420445FB5AE}"/>
    <dgm:cxn modelId="{9AAF3E1A-E2E0-4FE0-A1A7-BBD006C1CE59}" type="presOf" srcId="{DE8C7434-8EBF-4E09-898F-E1015BE03829}" destId="{B79D6334-4F12-4ECC-8828-28506251DBD7}" srcOrd="0" destOrd="0" presId="urn:microsoft.com/office/officeart/2005/8/layout/radial5"/>
    <dgm:cxn modelId="{A8864D4D-6AE4-419E-AF82-7397664C00D2}" srcId="{F238269B-A632-43CF-ABF0-821D164D4F0D}" destId="{25BEBC94-9644-4C8F-9BC5-096958B93142}" srcOrd="1" destOrd="0" parTransId="{D3A0C2DC-D186-4E99-95B5-A727EAEBC33C}" sibTransId="{640E6C3B-7D66-4BBD-B727-C236E5D6C46D}"/>
    <dgm:cxn modelId="{7AC5E56A-6687-46FE-B8EA-5FB7EABE72F8}" srcId="{F238269B-A632-43CF-ABF0-821D164D4F0D}" destId="{D25BEA7B-7F18-4407-87DD-163C9962BD0D}" srcOrd="2" destOrd="0" parTransId="{3A5CB247-0394-4A5C-A417-909D921AC68B}" sibTransId="{9FE9FEC0-4082-4A5A-958C-94C260A63D9F}"/>
    <dgm:cxn modelId="{50658E9C-39ED-4E90-B541-DE352DFA9ECB}" type="presOf" srcId="{DE8C7434-8EBF-4E09-898F-E1015BE03829}" destId="{10F92533-C1C4-49AA-90BE-E4B5CCF9642C}" srcOrd="1" destOrd="0" presId="urn:microsoft.com/office/officeart/2005/8/layout/radial5"/>
    <dgm:cxn modelId="{1FE5C68B-4EDC-4999-AEBE-D303236D077A}" type="presOf" srcId="{F238269B-A632-43CF-ABF0-821D164D4F0D}" destId="{21998D32-BA64-4032-A83C-566EEB99D31F}" srcOrd="0" destOrd="0" presId="urn:microsoft.com/office/officeart/2005/8/layout/radial5"/>
    <dgm:cxn modelId="{01814A33-7F1A-4456-B1AF-90AE8925C065}" type="presOf" srcId="{7A3AC0A9-9E99-40F4-990E-E2AAEE727439}" destId="{61BBEFEF-2E95-4068-BD51-034C20117B8B}" srcOrd="1" destOrd="0" presId="urn:microsoft.com/office/officeart/2005/8/layout/radial5"/>
    <dgm:cxn modelId="{61BCD483-8273-4A6A-9781-03766CA22C28}" type="presOf" srcId="{9B42E88F-B77C-4052-A9B8-038F6247802F}" destId="{21733E7F-FAC3-490D-ADB4-A6DCB3860810}" srcOrd="0" destOrd="0" presId="urn:microsoft.com/office/officeart/2005/8/layout/radial5"/>
    <dgm:cxn modelId="{9F15AD92-3E40-491C-8104-69319F949F41}" type="presOf" srcId="{9C8F5F4F-1E88-456A-8F23-1A507CE06B26}" destId="{79A2B4C5-AF94-4437-9C98-7634A2B1D799}" srcOrd="0" destOrd="0" presId="urn:microsoft.com/office/officeart/2005/8/layout/radial5"/>
    <dgm:cxn modelId="{A5A230C5-713A-4747-BA51-F3381828FA02}" type="presOf" srcId="{3A5CB247-0394-4A5C-A417-909D921AC68B}" destId="{97AA6629-4E0D-4CD2-8967-DCFCC33824DE}" srcOrd="0" destOrd="0" presId="urn:microsoft.com/office/officeart/2005/8/layout/radial5"/>
    <dgm:cxn modelId="{DBC03733-552E-4B21-B42C-0E07BB3D9B63}" type="presOf" srcId="{7A3AC0A9-9E99-40F4-990E-E2AAEE727439}" destId="{FD7D8C4A-6282-4C07-B4E7-D17C05AFA9C6}" srcOrd="0" destOrd="0" presId="urn:microsoft.com/office/officeart/2005/8/layout/radial5"/>
    <dgm:cxn modelId="{0122847F-F703-40AD-ADC9-AB7AC9132825}" type="presOf" srcId="{D3A0C2DC-D186-4E99-95B5-A727EAEBC33C}" destId="{2EF1EF4B-F704-4823-8C0A-253E052A77EA}" srcOrd="0" destOrd="0" presId="urn:microsoft.com/office/officeart/2005/8/layout/radial5"/>
    <dgm:cxn modelId="{375E1564-24ED-4B54-8B3E-CA4418ED33D8}" type="presOf" srcId="{9C8F5F4F-1E88-456A-8F23-1A507CE06B26}" destId="{150A7286-9656-492C-9FBC-F058E860B87D}" srcOrd="1" destOrd="0" presId="urn:microsoft.com/office/officeart/2005/8/layout/radial5"/>
    <dgm:cxn modelId="{4E0AF4FA-D253-4856-BDDA-875ED604540A}" type="presOf" srcId="{5F215EC4-C407-46FB-86E7-02FB36081E0A}" destId="{23885BDE-6939-4D59-8AFB-FBB21C20F81C}" srcOrd="0" destOrd="0" presId="urn:microsoft.com/office/officeart/2005/8/layout/radial5"/>
    <dgm:cxn modelId="{93C626F0-3792-43B0-8002-C7F0A30538FA}" type="presOf" srcId="{25BEBC94-9644-4C8F-9BC5-096958B93142}" destId="{8A24D106-BD03-42EA-96C9-2017A5FCF310}" srcOrd="0" destOrd="0" presId="urn:microsoft.com/office/officeart/2005/8/layout/radial5"/>
    <dgm:cxn modelId="{A2803343-3590-45CC-990A-D6A580B2544C}" type="presOf" srcId="{3A5CB247-0394-4A5C-A417-909D921AC68B}" destId="{76AA5ED0-76FF-4706-BC00-63B0BFB6762D}" srcOrd="1" destOrd="0" presId="urn:microsoft.com/office/officeart/2005/8/layout/radial5"/>
    <dgm:cxn modelId="{CE9C3DC7-0384-43D4-B36D-128216DBED4B}" srcId="{F238269B-A632-43CF-ABF0-821D164D4F0D}" destId="{F8ABF7D7-C9F9-4A25-A711-C6B208B5D39B}" srcOrd="0" destOrd="0" parTransId="{DE8C7434-8EBF-4E09-898F-E1015BE03829}" sibTransId="{945BC8E3-406E-4B45-B6F7-AE7DD8182AAE}"/>
    <dgm:cxn modelId="{E3DDD535-BA08-4546-B696-63CE29641509}" type="presParOf" srcId="{21733E7F-FAC3-490D-ADB4-A6DCB3860810}" destId="{21998D32-BA64-4032-A83C-566EEB99D31F}" srcOrd="0" destOrd="0" presId="urn:microsoft.com/office/officeart/2005/8/layout/radial5"/>
    <dgm:cxn modelId="{D592DBD3-8DC4-4587-ADE4-B8A49C35DCA0}" type="presParOf" srcId="{21733E7F-FAC3-490D-ADB4-A6DCB3860810}" destId="{B79D6334-4F12-4ECC-8828-28506251DBD7}" srcOrd="1" destOrd="0" presId="urn:microsoft.com/office/officeart/2005/8/layout/radial5"/>
    <dgm:cxn modelId="{24CA53BD-7F50-4310-AA96-411B7987764A}" type="presParOf" srcId="{B79D6334-4F12-4ECC-8828-28506251DBD7}" destId="{10F92533-C1C4-49AA-90BE-E4B5CCF9642C}" srcOrd="0" destOrd="0" presId="urn:microsoft.com/office/officeart/2005/8/layout/radial5"/>
    <dgm:cxn modelId="{9DB15840-B3D0-4F2E-AC29-F06208A07996}" type="presParOf" srcId="{21733E7F-FAC3-490D-ADB4-A6DCB3860810}" destId="{DC3215AC-6DE6-4E68-9BB7-4E5947EEBF39}" srcOrd="2" destOrd="0" presId="urn:microsoft.com/office/officeart/2005/8/layout/radial5"/>
    <dgm:cxn modelId="{5B88E5B8-C357-46DD-B712-8CF22637EAA8}" type="presParOf" srcId="{21733E7F-FAC3-490D-ADB4-A6DCB3860810}" destId="{2EF1EF4B-F704-4823-8C0A-253E052A77EA}" srcOrd="3" destOrd="0" presId="urn:microsoft.com/office/officeart/2005/8/layout/radial5"/>
    <dgm:cxn modelId="{006EACAD-0AAF-4344-999C-1F9033B1A826}" type="presParOf" srcId="{2EF1EF4B-F704-4823-8C0A-253E052A77EA}" destId="{6C508F1F-BFBB-4530-9FE0-7CE5621A5CC6}" srcOrd="0" destOrd="0" presId="urn:microsoft.com/office/officeart/2005/8/layout/radial5"/>
    <dgm:cxn modelId="{8A5497AD-87B2-443A-9BF4-A249D4C6EE9C}" type="presParOf" srcId="{21733E7F-FAC3-490D-ADB4-A6DCB3860810}" destId="{8A24D106-BD03-42EA-96C9-2017A5FCF310}" srcOrd="4" destOrd="0" presId="urn:microsoft.com/office/officeart/2005/8/layout/radial5"/>
    <dgm:cxn modelId="{99FF318B-AA08-4CCD-9D9C-CFA0797CA9DF}" type="presParOf" srcId="{21733E7F-FAC3-490D-ADB4-A6DCB3860810}" destId="{97AA6629-4E0D-4CD2-8967-DCFCC33824DE}" srcOrd="5" destOrd="0" presId="urn:microsoft.com/office/officeart/2005/8/layout/radial5"/>
    <dgm:cxn modelId="{3A88AE62-7BA7-4616-9F54-03950EF9C46E}" type="presParOf" srcId="{97AA6629-4E0D-4CD2-8967-DCFCC33824DE}" destId="{76AA5ED0-76FF-4706-BC00-63B0BFB6762D}" srcOrd="0" destOrd="0" presId="urn:microsoft.com/office/officeart/2005/8/layout/radial5"/>
    <dgm:cxn modelId="{922AA69F-0F38-49D6-8B94-5B795AAB8271}" type="presParOf" srcId="{21733E7F-FAC3-490D-ADB4-A6DCB3860810}" destId="{4C70FAF0-E586-4E2C-B501-3EE3DA5F41D7}" srcOrd="6" destOrd="0" presId="urn:microsoft.com/office/officeart/2005/8/layout/radial5"/>
    <dgm:cxn modelId="{DED6EDAB-8060-4AD7-B1F1-0F7EF6349070}" type="presParOf" srcId="{21733E7F-FAC3-490D-ADB4-A6DCB3860810}" destId="{FD7D8C4A-6282-4C07-B4E7-D17C05AFA9C6}" srcOrd="7" destOrd="0" presId="urn:microsoft.com/office/officeart/2005/8/layout/radial5"/>
    <dgm:cxn modelId="{69A41B0B-9D5E-48A8-8506-32862B53CABA}" type="presParOf" srcId="{FD7D8C4A-6282-4C07-B4E7-D17C05AFA9C6}" destId="{61BBEFEF-2E95-4068-BD51-034C20117B8B}" srcOrd="0" destOrd="0" presId="urn:microsoft.com/office/officeart/2005/8/layout/radial5"/>
    <dgm:cxn modelId="{0E96313D-4E3F-4356-A00A-AB07138B8FF7}" type="presParOf" srcId="{21733E7F-FAC3-490D-ADB4-A6DCB3860810}" destId="{88FABDD7-C0A3-44FA-93A3-844313319D5E}" srcOrd="8" destOrd="0" presId="urn:microsoft.com/office/officeart/2005/8/layout/radial5"/>
    <dgm:cxn modelId="{69DCC9E5-EBEB-4247-838A-A4D257D8D8DB}" type="presParOf" srcId="{21733E7F-FAC3-490D-ADB4-A6DCB3860810}" destId="{79A2B4C5-AF94-4437-9C98-7634A2B1D799}" srcOrd="9" destOrd="0" presId="urn:microsoft.com/office/officeart/2005/8/layout/radial5"/>
    <dgm:cxn modelId="{9A3000F5-3847-4225-AA24-B977D4195678}" type="presParOf" srcId="{79A2B4C5-AF94-4437-9C98-7634A2B1D799}" destId="{150A7286-9656-492C-9FBC-F058E860B87D}" srcOrd="0" destOrd="0" presId="urn:microsoft.com/office/officeart/2005/8/layout/radial5"/>
    <dgm:cxn modelId="{A1E2590B-8999-4FEB-A7F7-97BB7F7D27E0}" type="presParOf" srcId="{21733E7F-FAC3-490D-ADB4-A6DCB3860810}" destId="{23885BDE-6939-4D59-8AFB-FBB21C20F81C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BDFE351B-E51C-4A49-ABBA-57BC06BB39C3}" type="doc">
      <dgm:prSet loTypeId="urn:microsoft.com/office/officeart/2009/layout/CircleArrowProcess" loCatId="cycle" qsTypeId="urn:microsoft.com/office/officeart/2005/8/quickstyle/simple1" qsCatId="simple" csTypeId="urn:microsoft.com/office/officeart/2005/8/colors/colorful4" csCatId="colorful" phldr="1"/>
      <dgm:spPr/>
    </dgm:pt>
    <dgm:pt modelId="{FCEC80A2-1A23-4DA0-9252-C95FC0E2815F}">
      <dgm:prSet phldrT="[Text]"/>
      <dgm:spPr/>
      <dgm:t>
        <a:bodyPr/>
        <a:lstStyle/>
        <a:p>
          <a:r>
            <a:rPr lang="en-US" dirty="0"/>
            <a:t>NFT Manager</a:t>
          </a:r>
        </a:p>
      </dgm:t>
    </dgm:pt>
    <dgm:pt modelId="{8F9DCCD9-6375-4ADF-9E56-8AF5891DE71C}" type="parTrans" cxnId="{DD9E3F5D-3726-4E85-999F-41B429D1ADAA}">
      <dgm:prSet/>
      <dgm:spPr/>
      <dgm:t>
        <a:bodyPr/>
        <a:lstStyle/>
        <a:p>
          <a:endParaRPr lang="en-US"/>
        </a:p>
      </dgm:t>
    </dgm:pt>
    <dgm:pt modelId="{3F5AEE44-5D4A-43F0-8AAA-B342DCECE812}" type="sibTrans" cxnId="{DD9E3F5D-3726-4E85-999F-41B429D1ADAA}">
      <dgm:prSet/>
      <dgm:spPr/>
      <dgm:t>
        <a:bodyPr/>
        <a:lstStyle/>
        <a:p>
          <a:endParaRPr lang="en-US"/>
        </a:p>
      </dgm:t>
    </dgm:pt>
    <dgm:pt modelId="{BF538D47-8103-4F97-8159-89E5E00CD1E1}">
      <dgm:prSet phldrT="[Text]"/>
      <dgm:spPr/>
      <dgm:t>
        <a:bodyPr/>
        <a:lstStyle/>
        <a:p>
          <a:r>
            <a:rPr lang="en-US" dirty="0"/>
            <a:t>NFT Coordinator</a:t>
          </a:r>
        </a:p>
      </dgm:t>
    </dgm:pt>
    <dgm:pt modelId="{20FFFD54-6E4F-4794-914B-E6E3E06331EC}" type="parTrans" cxnId="{058385B5-CE75-4770-BD01-D341294989F2}">
      <dgm:prSet/>
      <dgm:spPr/>
      <dgm:t>
        <a:bodyPr/>
        <a:lstStyle/>
        <a:p>
          <a:endParaRPr lang="en-US"/>
        </a:p>
      </dgm:t>
    </dgm:pt>
    <dgm:pt modelId="{75D3BFEA-37FC-49AE-96D4-22A60EE64BF0}" type="sibTrans" cxnId="{058385B5-CE75-4770-BD01-D341294989F2}">
      <dgm:prSet/>
      <dgm:spPr/>
      <dgm:t>
        <a:bodyPr/>
        <a:lstStyle/>
        <a:p>
          <a:endParaRPr lang="en-US"/>
        </a:p>
      </dgm:t>
    </dgm:pt>
    <dgm:pt modelId="{6BAAACCD-3215-4E6D-86C6-78CFE49F11B2}">
      <dgm:prSet phldrT="[Text]"/>
      <dgm:spPr/>
      <dgm:t>
        <a:bodyPr/>
        <a:lstStyle/>
        <a:p>
          <a:r>
            <a:rPr lang="en-US" dirty="0"/>
            <a:t>NFT</a:t>
          </a:r>
        </a:p>
        <a:p>
          <a:r>
            <a:rPr lang="en-US" dirty="0"/>
            <a:t>Analyst</a:t>
          </a:r>
        </a:p>
      </dgm:t>
    </dgm:pt>
    <dgm:pt modelId="{33719E1A-2A01-4D28-8C01-6AAD9387BAC2}" type="parTrans" cxnId="{2B0EB6F6-1716-449C-9716-8D2E3F6F94AF}">
      <dgm:prSet/>
      <dgm:spPr/>
      <dgm:t>
        <a:bodyPr/>
        <a:lstStyle/>
        <a:p>
          <a:endParaRPr lang="en-US"/>
        </a:p>
      </dgm:t>
    </dgm:pt>
    <dgm:pt modelId="{EB59F38C-CF42-4862-9C8F-95E658AF6A60}" type="sibTrans" cxnId="{2B0EB6F6-1716-449C-9716-8D2E3F6F94AF}">
      <dgm:prSet/>
      <dgm:spPr/>
      <dgm:t>
        <a:bodyPr/>
        <a:lstStyle/>
        <a:p>
          <a:endParaRPr lang="en-US"/>
        </a:p>
      </dgm:t>
    </dgm:pt>
    <dgm:pt modelId="{EA04463D-AD56-488A-82AD-19CB4572F984}" type="pres">
      <dgm:prSet presAssocID="{BDFE351B-E51C-4A49-ABBA-57BC06BB39C3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F22DA4DD-5019-423C-9F51-11EE06325557}" type="pres">
      <dgm:prSet presAssocID="{FCEC80A2-1A23-4DA0-9252-C95FC0E2815F}" presName="Accent1" presStyleCnt="0"/>
      <dgm:spPr/>
    </dgm:pt>
    <dgm:pt modelId="{142D0A7A-7A52-44D9-B151-C69C5FCB05B1}" type="pres">
      <dgm:prSet presAssocID="{FCEC80A2-1A23-4DA0-9252-C95FC0E2815F}" presName="Accent" presStyleLbl="node1" presStyleIdx="0" presStyleCnt="3"/>
      <dgm:spPr/>
    </dgm:pt>
    <dgm:pt modelId="{C8108C95-2981-47D3-9BD1-2F7390B5B00C}" type="pres">
      <dgm:prSet presAssocID="{FCEC80A2-1A23-4DA0-9252-C95FC0E2815F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</dgm:pt>
    <dgm:pt modelId="{DD0AB50D-CB80-47AF-AF68-58ABF1E70395}" type="pres">
      <dgm:prSet presAssocID="{BF538D47-8103-4F97-8159-89E5E00CD1E1}" presName="Accent2" presStyleCnt="0"/>
      <dgm:spPr/>
    </dgm:pt>
    <dgm:pt modelId="{DBE392E6-649A-4CF4-A57D-1CC95177AE77}" type="pres">
      <dgm:prSet presAssocID="{BF538D47-8103-4F97-8159-89E5E00CD1E1}" presName="Accent" presStyleLbl="node1" presStyleIdx="1" presStyleCnt="3"/>
      <dgm:spPr/>
    </dgm:pt>
    <dgm:pt modelId="{4F16B095-36F3-4AC9-A86E-0C46BD0E16F2}" type="pres">
      <dgm:prSet presAssocID="{BF538D47-8103-4F97-8159-89E5E00CD1E1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</dgm:pt>
    <dgm:pt modelId="{D008B0F2-B3F5-4824-8B16-E38F7C42AC80}" type="pres">
      <dgm:prSet presAssocID="{6BAAACCD-3215-4E6D-86C6-78CFE49F11B2}" presName="Accent3" presStyleCnt="0"/>
      <dgm:spPr/>
    </dgm:pt>
    <dgm:pt modelId="{6A17378F-5ECC-4B79-BBE0-B58941E4550A}" type="pres">
      <dgm:prSet presAssocID="{6BAAACCD-3215-4E6D-86C6-78CFE49F11B2}" presName="Accent" presStyleLbl="node1" presStyleIdx="2" presStyleCnt="3"/>
      <dgm:spPr/>
    </dgm:pt>
    <dgm:pt modelId="{EA028FA2-C8F5-4F8E-A7DD-53F950747B25}" type="pres">
      <dgm:prSet presAssocID="{6BAAACCD-3215-4E6D-86C6-78CFE49F11B2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058385B5-CE75-4770-BD01-D341294989F2}" srcId="{BDFE351B-E51C-4A49-ABBA-57BC06BB39C3}" destId="{BF538D47-8103-4F97-8159-89E5E00CD1E1}" srcOrd="1" destOrd="0" parTransId="{20FFFD54-6E4F-4794-914B-E6E3E06331EC}" sibTransId="{75D3BFEA-37FC-49AE-96D4-22A60EE64BF0}"/>
    <dgm:cxn modelId="{C7CF295A-AB64-4B18-9298-8ABA274AB362}" type="presOf" srcId="{BDFE351B-E51C-4A49-ABBA-57BC06BB39C3}" destId="{EA04463D-AD56-488A-82AD-19CB4572F984}" srcOrd="0" destOrd="0" presId="urn:microsoft.com/office/officeart/2009/layout/CircleArrowProcess"/>
    <dgm:cxn modelId="{2B0EB6F6-1716-449C-9716-8D2E3F6F94AF}" srcId="{BDFE351B-E51C-4A49-ABBA-57BC06BB39C3}" destId="{6BAAACCD-3215-4E6D-86C6-78CFE49F11B2}" srcOrd="2" destOrd="0" parTransId="{33719E1A-2A01-4D28-8C01-6AAD9387BAC2}" sibTransId="{EB59F38C-CF42-4862-9C8F-95E658AF6A60}"/>
    <dgm:cxn modelId="{62D535F1-0BC4-4FAA-BE6A-5E9065F03F5B}" type="presOf" srcId="{FCEC80A2-1A23-4DA0-9252-C95FC0E2815F}" destId="{C8108C95-2981-47D3-9BD1-2F7390B5B00C}" srcOrd="0" destOrd="0" presId="urn:microsoft.com/office/officeart/2009/layout/CircleArrowProcess"/>
    <dgm:cxn modelId="{F66D2281-671D-44C6-8F8A-0D61E7715446}" type="presOf" srcId="{6BAAACCD-3215-4E6D-86C6-78CFE49F11B2}" destId="{EA028FA2-C8F5-4F8E-A7DD-53F950747B25}" srcOrd="0" destOrd="0" presId="urn:microsoft.com/office/officeart/2009/layout/CircleArrowProcess"/>
    <dgm:cxn modelId="{1E400115-0D22-468B-BB13-2B305928AEB0}" type="presOf" srcId="{BF538D47-8103-4F97-8159-89E5E00CD1E1}" destId="{4F16B095-36F3-4AC9-A86E-0C46BD0E16F2}" srcOrd="0" destOrd="0" presId="urn:microsoft.com/office/officeart/2009/layout/CircleArrowProcess"/>
    <dgm:cxn modelId="{DD9E3F5D-3726-4E85-999F-41B429D1ADAA}" srcId="{BDFE351B-E51C-4A49-ABBA-57BC06BB39C3}" destId="{FCEC80A2-1A23-4DA0-9252-C95FC0E2815F}" srcOrd="0" destOrd="0" parTransId="{8F9DCCD9-6375-4ADF-9E56-8AF5891DE71C}" sibTransId="{3F5AEE44-5D4A-43F0-8AAA-B342DCECE812}"/>
    <dgm:cxn modelId="{D5A36917-A485-418E-AE56-E4EF31BACC77}" type="presParOf" srcId="{EA04463D-AD56-488A-82AD-19CB4572F984}" destId="{F22DA4DD-5019-423C-9F51-11EE06325557}" srcOrd="0" destOrd="0" presId="urn:microsoft.com/office/officeart/2009/layout/CircleArrowProcess"/>
    <dgm:cxn modelId="{77198762-265A-4BD4-8C93-3BB4EB3BE995}" type="presParOf" srcId="{F22DA4DD-5019-423C-9F51-11EE06325557}" destId="{142D0A7A-7A52-44D9-B151-C69C5FCB05B1}" srcOrd="0" destOrd="0" presId="urn:microsoft.com/office/officeart/2009/layout/CircleArrowProcess"/>
    <dgm:cxn modelId="{924BBF23-5D63-4FF3-B5E5-F880FC1C1761}" type="presParOf" srcId="{EA04463D-AD56-488A-82AD-19CB4572F984}" destId="{C8108C95-2981-47D3-9BD1-2F7390B5B00C}" srcOrd="1" destOrd="0" presId="urn:microsoft.com/office/officeart/2009/layout/CircleArrowProcess"/>
    <dgm:cxn modelId="{05B75318-69CF-43AF-B734-CBB790C8DD36}" type="presParOf" srcId="{EA04463D-AD56-488A-82AD-19CB4572F984}" destId="{DD0AB50D-CB80-47AF-AF68-58ABF1E70395}" srcOrd="2" destOrd="0" presId="urn:microsoft.com/office/officeart/2009/layout/CircleArrowProcess"/>
    <dgm:cxn modelId="{C1109B45-A25E-43FF-B01B-393184F3D0BD}" type="presParOf" srcId="{DD0AB50D-CB80-47AF-AF68-58ABF1E70395}" destId="{DBE392E6-649A-4CF4-A57D-1CC95177AE77}" srcOrd="0" destOrd="0" presId="urn:microsoft.com/office/officeart/2009/layout/CircleArrowProcess"/>
    <dgm:cxn modelId="{D0E4F0A2-8FA4-4DEB-A6B4-C07BE455FBFD}" type="presParOf" srcId="{EA04463D-AD56-488A-82AD-19CB4572F984}" destId="{4F16B095-36F3-4AC9-A86E-0C46BD0E16F2}" srcOrd="3" destOrd="0" presId="urn:microsoft.com/office/officeart/2009/layout/CircleArrowProcess"/>
    <dgm:cxn modelId="{6D030994-A05B-49B7-8726-C8B57AC0EB3C}" type="presParOf" srcId="{EA04463D-AD56-488A-82AD-19CB4572F984}" destId="{D008B0F2-B3F5-4824-8B16-E38F7C42AC80}" srcOrd="4" destOrd="0" presId="urn:microsoft.com/office/officeart/2009/layout/CircleArrowProcess"/>
    <dgm:cxn modelId="{5985C173-E1E5-4850-A2A2-935A08855FB2}" type="presParOf" srcId="{D008B0F2-B3F5-4824-8B16-E38F7C42AC80}" destId="{6A17378F-5ECC-4B79-BBE0-B58941E4550A}" srcOrd="0" destOrd="0" presId="urn:microsoft.com/office/officeart/2009/layout/CircleArrowProcess"/>
    <dgm:cxn modelId="{0998BB96-5A84-473F-90CF-047BFE70E392}" type="presParOf" srcId="{EA04463D-AD56-488A-82AD-19CB4572F984}" destId="{EA028FA2-C8F5-4F8E-A7DD-53F950747B25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69313E6A-0EE0-4D27-B617-D88124F23EC4}" type="doc">
      <dgm:prSet loTypeId="urn:microsoft.com/office/officeart/2005/8/layout/lProcess2" loCatId="list" qsTypeId="urn:microsoft.com/office/officeart/2005/8/quickstyle/simple1" qsCatId="simple" csTypeId="urn:microsoft.com/office/officeart/2005/8/colors/colorful4" csCatId="colorful" phldr="1"/>
      <dgm:spPr/>
    </dgm:pt>
    <dgm:pt modelId="{361B6FC7-9AE6-4BED-BFCA-55408184026F}">
      <dgm:prSet phldrT="[Text]" custT="1"/>
      <dgm:spPr/>
      <dgm:t>
        <a:bodyPr/>
        <a:lstStyle/>
        <a:p>
          <a:r>
            <a:rPr lang="en-US" sz="3000" dirty="0"/>
            <a:t>LoginSevice2</a:t>
          </a:r>
        </a:p>
      </dgm:t>
    </dgm:pt>
    <dgm:pt modelId="{0DEA096C-7CC2-464D-BB10-89B6658724EF}" type="parTrans" cxnId="{D87BD183-4B43-4CB3-B271-8926FE2F1E06}">
      <dgm:prSet/>
      <dgm:spPr/>
      <dgm:t>
        <a:bodyPr/>
        <a:lstStyle/>
        <a:p>
          <a:endParaRPr lang="en-US"/>
        </a:p>
      </dgm:t>
    </dgm:pt>
    <dgm:pt modelId="{F0036FD9-BD52-4DF7-8995-49720DC2E18D}" type="sibTrans" cxnId="{D87BD183-4B43-4CB3-B271-8926FE2F1E06}">
      <dgm:prSet/>
      <dgm:spPr/>
      <dgm:t>
        <a:bodyPr/>
        <a:lstStyle/>
        <a:p>
          <a:endParaRPr lang="en-US"/>
        </a:p>
      </dgm:t>
    </dgm:pt>
    <dgm:pt modelId="{17F0D111-F35A-4828-A6B2-1D58D838F8F5}">
      <dgm:prSet phldrT="[Text]" custT="1"/>
      <dgm:spPr/>
      <dgm:t>
        <a:bodyPr/>
        <a:lstStyle/>
        <a:p>
          <a:r>
            <a:rPr lang="en-US" sz="3000" dirty="0"/>
            <a:t>Cardholder Client</a:t>
          </a:r>
        </a:p>
      </dgm:t>
    </dgm:pt>
    <dgm:pt modelId="{3F500595-A47E-436D-8446-BBAF7A6F0467}" type="parTrans" cxnId="{6899B3BF-67EC-4B93-B72B-664C8177B948}">
      <dgm:prSet/>
      <dgm:spPr/>
      <dgm:t>
        <a:bodyPr/>
        <a:lstStyle/>
        <a:p>
          <a:endParaRPr lang="en-US"/>
        </a:p>
      </dgm:t>
    </dgm:pt>
    <dgm:pt modelId="{6062AE7C-EA3A-4C3D-A70A-A2F0E3F0D9FF}" type="sibTrans" cxnId="{6899B3BF-67EC-4B93-B72B-664C8177B948}">
      <dgm:prSet/>
      <dgm:spPr/>
      <dgm:t>
        <a:bodyPr/>
        <a:lstStyle/>
        <a:p>
          <a:endParaRPr lang="en-US"/>
        </a:p>
      </dgm:t>
    </dgm:pt>
    <dgm:pt modelId="{6B923BBC-BA40-421F-8B71-CEAAAF5B7B00}">
      <dgm:prSet phldrT="[Text]"/>
      <dgm:spPr/>
      <dgm:t>
        <a:bodyPr/>
        <a:lstStyle/>
        <a:p>
          <a:r>
            <a:rPr lang="en-US" dirty="0"/>
            <a:t>LS2 stays in front of almost all applications</a:t>
          </a:r>
        </a:p>
      </dgm:t>
    </dgm:pt>
    <dgm:pt modelId="{C52D230C-0499-455B-9B24-B94573E3DC4B}" type="parTrans" cxnId="{4DBE4946-AA8C-47F2-BCCC-04E8F5AACCB1}">
      <dgm:prSet/>
      <dgm:spPr/>
      <dgm:t>
        <a:bodyPr/>
        <a:lstStyle/>
        <a:p>
          <a:endParaRPr lang="en-US"/>
        </a:p>
      </dgm:t>
    </dgm:pt>
    <dgm:pt modelId="{555BDE9B-3A73-4022-9CB7-C9F4E80D6F18}" type="sibTrans" cxnId="{4DBE4946-AA8C-47F2-BCCC-04E8F5AACCB1}">
      <dgm:prSet/>
      <dgm:spPr/>
      <dgm:t>
        <a:bodyPr/>
        <a:lstStyle/>
        <a:p>
          <a:endParaRPr lang="en-US"/>
        </a:p>
      </dgm:t>
    </dgm:pt>
    <dgm:pt modelId="{9E68B85A-B18D-41CF-9775-2BC650BC0972}">
      <dgm:prSet/>
      <dgm:spPr/>
      <dgm:t>
        <a:bodyPr/>
        <a:lstStyle/>
        <a:p>
          <a:r>
            <a:rPr lang="en-US" dirty="0"/>
            <a:t>It is the first major security barrier</a:t>
          </a:r>
        </a:p>
      </dgm:t>
    </dgm:pt>
    <dgm:pt modelId="{4A56277C-E711-4F8B-99AA-A9E5FF58F75F}" type="parTrans" cxnId="{217EB79C-6140-44C1-946A-E0DE6528BF8C}">
      <dgm:prSet/>
      <dgm:spPr/>
      <dgm:t>
        <a:bodyPr/>
        <a:lstStyle/>
        <a:p>
          <a:endParaRPr lang="en-US"/>
        </a:p>
      </dgm:t>
    </dgm:pt>
    <dgm:pt modelId="{595C730F-E203-4FB6-A299-9C5ABA5BE2E3}" type="sibTrans" cxnId="{217EB79C-6140-44C1-946A-E0DE6528BF8C}">
      <dgm:prSet/>
      <dgm:spPr/>
      <dgm:t>
        <a:bodyPr/>
        <a:lstStyle/>
        <a:p>
          <a:endParaRPr lang="en-US"/>
        </a:p>
      </dgm:t>
    </dgm:pt>
    <dgm:pt modelId="{C5895BA9-163C-4208-A6BF-084F9B6AC90C}">
      <dgm:prSet/>
      <dgm:spPr/>
      <dgm:t>
        <a:bodyPr/>
        <a:lstStyle/>
        <a:p>
          <a:pPr algn="ctr"/>
          <a:r>
            <a:rPr lang="en-US" dirty="0"/>
            <a:t>LS2 helps to retrieve tokens (Secure Object or simply SO) and hand over it to the 3</a:t>
          </a:r>
          <a:r>
            <a:rPr lang="en-US" baseline="30000" dirty="0"/>
            <a:t>rd</a:t>
          </a:r>
          <a:r>
            <a:rPr lang="en-US" dirty="0"/>
            <a:t> party applications</a:t>
          </a:r>
        </a:p>
      </dgm:t>
    </dgm:pt>
    <dgm:pt modelId="{577A4BC9-70AE-4C79-B6B7-B7C42705CBDE}" type="parTrans" cxnId="{01E4E250-3523-496A-A5B7-95270E378A88}">
      <dgm:prSet/>
      <dgm:spPr/>
      <dgm:t>
        <a:bodyPr/>
        <a:lstStyle/>
        <a:p>
          <a:endParaRPr lang="en-US"/>
        </a:p>
      </dgm:t>
    </dgm:pt>
    <dgm:pt modelId="{774B2387-B702-4EA3-8439-8CC69FA980B1}" type="sibTrans" cxnId="{01E4E250-3523-496A-A5B7-95270E378A88}">
      <dgm:prSet/>
      <dgm:spPr/>
      <dgm:t>
        <a:bodyPr/>
        <a:lstStyle/>
        <a:p>
          <a:endParaRPr lang="en-US"/>
        </a:p>
      </dgm:t>
    </dgm:pt>
    <dgm:pt modelId="{A37E18F9-4125-476A-B6AF-4B8F34E0777A}">
      <dgm:prSet phldrT="[Text]"/>
      <dgm:spPr/>
      <dgm:t>
        <a:bodyPr/>
        <a:lstStyle/>
        <a:p>
          <a:r>
            <a:rPr lang="en-US" dirty="0"/>
            <a:t>CHC is a part of EVRY’s NetBank (Online banking)</a:t>
          </a:r>
        </a:p>
      </dgm:t>
    </dgm:pt>
    <dgm:pt modelId="{A51E8CF7-55E0-41FD-8251-46C08FDE0CC1}" type="parTrans" cxnId="{9441C405-34C8-4DE6-BCF5-819268FDB114}">
      <dgm:prSet/>
      <dgm:spPr/>
      <dgm:t>
        <a:bodyPr/>
        <a:lstStyle/>
        <a:p>
          <a:endParaRPr lang="en-US"/>
        </a:p>
      </dgm:t>
    </dgm:pt>
    <dgm:pt modelId="{AD662088-F61C-4C8F-AE68-396FC8CB55AC}" type="sibTrans" cxnId="{9441C405-34C8-4DE6-BCF5-819268FDB114}">
      <dgm:prSet/>
      <dgm:spPr/>
      <dgm:t>
        <a:bodyPr/>
        <a:lstStyle/>
        <a:p>
          <a:endParaRPr lang="en-US"/>
        </a:p>
      </dgm:t>
    </dgm:pt>
    <dgm:pt modelId="{8AA4828F-DABB-4C9F-9896-D03C03766E92}">
      <dgm:prSet/>
      <dgm:spPr/>
      <dgm:t>
        <a:bodyPr/>
        <a:lstStyle/>
        <a:p>
          <a:r>
            <a:rPr lang="en-US" dirty="0"/>
            <a:t>It can be integrated with any 3rd party web application</a:t>
          </a:r>
        </a:p>
      </dgm:t>
    </dgm:pt>
    <dgm:pt modelId="{25D28638-3D3B-4818-8BFB-24F10ED733F6}" type="parTrans" cxnId="{3B8D39B8-A38F-4152-BBE7-8DC3E1AF5C18}">
      <dgm:prSet/>
      <dgm:spPr/>
      <dgm:t>
        <a:bodyPr/>
        <a:lstStyle/>
        <a:p>
          <a:endParaRPr lang="en-US"/>
        </a:p>
      </dgm:t>
    </dgm:pt>
    <dgm:pt modelId="{30CB99F5-73CD-405C-8940-C2E12ABDD508}" type="sibTrans" cxnId="{3B8D39B8-A38F-4152-BBE7-8DC3E1AF5C18}">
      <dgm:prSet/>
      <dgm:spPr/>
      <dgm:t>
        <a:bodyPr/>
        <a:lstStyle/>
        <a:p>
          <a:endParaRPr lang="en-US"/>
        </a:p>
      </dgm:t>
    </dgm:pt>
    <dgm:pt modelId="{604D8095-36E0-479F-849E-13265200CB82}">
      <dgm:prSet/>
      <dgm:spPr/>
      <dgm:t>
        <a:bodyPr/>
        <a:lstStyle/>
        <a:p>
          <a:r>
            <a:rPr lang="en-US" dirty="0"/>
            <a:t>EVRY’s NetBank is protected by LoginsService2 in front of CHC</a:t>
          </a:r>
        </a:p>
      </dgm:t>
    </dgm:pt>
    <dgm:pt modelId="{F99483A1-F88E-4DE5-9B08-59A9B54C6CA6}" type="parTrans" cxnId="{6952B7F3-E908-4175-97CD-011998C5BDA1}">
      <dgm:prSet/>
      <dgm:spPr/>
      <dgm:t>
        <a:bodyPr/>
        <a:lstStyle/>
        <a:p>
          <a:endParaRPr lang="en-US"/>
        </a:p>
      </dgm:t>
    </dgm:pt>
    <dgm:pt modelId="{C5584E01-A18F-4AA5-9D3F-DACAB5065066}" type="sibTrans" cxnId="{6952B7F3-E908-4175-97CD-011998C5BDA1}">
      <dgm:prSet/>
      <dgm:spPr/>
      <dgm:t>
        <a:bodyPr/>
        <a:lstStyle/>
        <a:p>
          <a:endParaRPr lang="en-US"/>
        </a:p>
      </dgm:t>
    </dgm:pt>
    <dgm:pt modelId="{E8F8E3DB-30D8-41CE-B9AC-E6CC91D807AE}">
      <dgm:prSet/>
      <dgm:spPr/>
      <dgm:t>
        <a:bodyPr/>
        <a:lstStyle/>
        <a:p>
          <a:r>
            <a:rPr lang="en-US" dirty="0"/>
            <a:t>After logging in CHC uses SO as the main parameter in session management</a:t>
          </a:r>
        </a:p>
      </dgm:t>
    </dgm:pt>
    <dgm:pt modelId="{73EC4CE2-B9FA-471E-92B0-9863F12F0FD5}" type="parTrans" cxnId="{03FEEB3C-A371-4286-BC1F-7312F7BDE40A}">
      <dgm:prSet/>
      <dgm:spPr/>
      <dgm:t>
        <a:bodyPr/>
        <a:lstStyle/>
        <a:p>
          <a:endParaRPr lang="en-US"/>
        </a:p>
      </dgm:t>
    </dgm:pt>
    <dgm:pt modelId="{0E5B170B-1BAE-4D8F-BEB0-BD4D2B8BAD1B}" type="sibTrans" cxnId="{03FEEB3C-A371-4286-BC1F-7312F7BDE40A}">
      <dgm:prSet/>
      <dgm:spPr/>
      <dgm:t>
        <a:bodyPr/>
        <a:lstStyle/>
        <a:p>
          <a:endParaRPr lang="en-US"/>
        </a:p>
      </dgm:t>
    </dgm:pt>
    <dgm:pt modelId="{031C5A1A-244B-428B-8D45-C036CE436AE3}">
      <dgm:prSet/>
      <dgm:spPr/>
      <dgm:t>
        <a:bodyPr/>
        <a:lstStyle/>
        <a:p>
          <a:r>
            <a:rPr lang="en-US" dirty="0"/>
            <a:t>Available through the Internet</a:t>
          </a:r>
        </a:p>
      </dgm:t>
    </dgm:pt>
    <dgm:pt modelId="{0E7849C7-D59F-486D-9D55-42DA6BD5D59D}" type="parTrans" cxnId="{DCD55808-76A7-4AB2-8647-8E633AF33FDF}">
      <dgm:prSet/>
      <dgm:spPr/>
      <dgm:t>
        <a:bodyPr/>
        <a:lstStyle/>
        <a:p>
          <a:endParaRPr lang="en-US"/>
        </a:p>
      </dgm:t>
    </dgm:pt>
    <dgm:pt modelId="{F8FEBD12-B10B-42A0-A165-ED2DF4FB10F2}" type="sibTrans" cxnId="{DCD55808-76A7-4AB2-8647-8E633AF33FDF}">
      <dgm:prSet/>
      <dgm:spPr/>
      <dgm:t>
        <a:bodyPr/>
        <a:lstStyle/>
        <a:p>
          <a:endParaRPr lang="en-US"/>
        </a:p>
      </dgm:t>
    </dgm:pt>
    <dgm:pt modelId="{4E2E7CC0-0E91-4877-B196-A51F97997F1B}">
      <dgm:prSet/>
      <dgm:spPr/>
      <dgm:t>
        <a:bodyPr/>
        <a:lstStyle/>
        <a:p>
          <a:r>
            <a:rPr lang="en-US"/>
            <a:t>Available through the Internet</a:t>
          </a:r>
          <a:endParaRPr lang="en-US" dirty="0"/>
        </a:p>
      </dgm:t>
    </dgm:pt>
    <dgm:pt modelId="{83E00746-8715-42D0-B634-99576FDBBD21}" type="parTrans" cxnId="{3B817331-93A3-4733-985F-9BD2780B5AE7}">
      <dgm:prSet/>
      <dgm:spPr/>
      <dgm:t>
        <a:bodyPr/>
        <a:lstStyle/>
        <a:p>
          <a:endParaRPr lang="en-US"/>
        </a:p>
      </dgm:t>
    </dgm:pt>
    <dgm:pt modelId="{FC0992EC-1505-474C-B8D8-1F738B0B43CF}" type="sibTrans" cxnId="{3B817331-93A3-4733-985F-9BD2780B5AE7}">
      <dgm:prSet/>
      <dgm:spPr/>
      <dgm:t>
        <a:bodyPr/>
        <a:lstStyle/>
        <a:p>
          <a:endParaRPr lang="en-US"/>
        </a:p>
      </dgm:t>
    </dgm:pt>
    <dgm:pt modelId="{4A23EAAF-1187-4744-A976-58687BCBF7E3}" type="pres">
      <dgm:prSet presAssocID="{69313E6A-0EE0-4D27-B617-D88124F23EC4}" presName="theList" presStyleCnt="0">
        <dgm:presLayoutVars>
          <dgm:dir/>
          <dgm:animLvl val="lvl"/>
          <dgm:resizeHandles val="exact"/>
        </dgm:presLayoutVars>
      </dgm:prSet>
      <dgm:spPr/>
    </dgm:pt>
    <dgm:pt modelId="{BC7AF73A-B64B-48A2-B697-FEFB88F98199}" type="pres">
      <dgm:prSet presAssocID="{361B6FC7-9AE6-4BED-BFCA-55408184026F}" presName="compNode" presStyleCnt="0"/>
      <dgm:spPr/>
    </dgm:pt>
    <dgm:pt modelId="{9E9E667E-D66B-4499-8A26-A8F00B143C38}" type="pres">
      <dgm:prSet presAssocID="{361B6FC7-9AE6-4BED-BFCA-55408184026F}" presName="aNode" presStyleLbl="bgShp" presStyleIdx="0" presStyleCnt="2" custLinFactNeighborX="-25190" custLinFactNeighborY="3971"/>
      <dgm:spPr/>
    </dgm:pt>
    <dgm:pt modelId="{B2AA4426-614B-4D40-8106-96274F60B0F5}" type="pres">
      <dgm:prSet presAssocID="{361B6FC7-9AE6-4BED-BFCA-55408184026F}" presName="textNode" presStyleLbl="bgShp" presStyleIdx="0" presStyleCnt="2"/>
      <dgm:spPr/>
    </dgm:pt>
    <dgm:pt modelId="{C4540A96-E88A-4752-B716-9AE031EC458A}" type="pres">
      <dgm:prSet presAssocID="{361B6FC7-9AE6-4BED-BFCA-55408184026F}" presName="compChildNode" presStyleCnt="0"/>
      <dgm:spPr/>
    </dgm:pt>
    <dgm:pt modelId="{863AACCF-ACF8-40F1-8AA7-D480620E32DA}" type="pres">
      <dgm:prSet presAssocID="{361B6FC7-9AE6-4BED-BFCA-55408184026F}" presName="theInnerList" presStyleCnt="0"/>
      <dgm:spPr/>
    </dgm:pt>
    <dgm:pt modelId="{D55AE418-C6E8-4E53-B7E1-7D143A6EB305}" type="pres">
      <dgm:prSet presAssocID="{6B923BBC-BA40-421F-8B71-CEAAAF5B7B00}" presName="childNode" presStyleLbl="node1" presStyleIdx="0" presStyleCnt="9">
        <dgm:presLayoutVars>
          <dgm:bulletEnabled val="1"/>
        </dgm:presLayoutVars>
      </dgm:prSet>
      <dgm:spPr/>
    </dgm:pt>
    <dgm:pt modelId="{706B89E0-C386-4AD3-96CA-AA20EC33205A}" type="pres">
      <dgm:prSet presAssocID="{6B923BBC-BA40-421F-8B71-CEAAAF5B7B00}" presName="aSpace2" presStyleCnt="0"/>
      <dgm:spPr/>
    </dgm:pt>
    <dgm:pt modelId="{452A2050-6D64-4E58-9BA9-40F05C6B08B4}" type="pres">
      <dgm:prSet presAssocID="{9E68B85A-B18D-41CF-9775-2BC650BC0972}" presName="childNode" presStyleLbl="node1" presStyleIdx="1" presStyleCnt="9">
        <dgm:presLayoutVars>
          <dgm:bulletEnabled val="1"/>
        </dgm:presLayoutVars>
      </dgm:prSet>
      <dgm:spPr/>
    </dgm:pt>
    <dgm:pt modelId="{857ED767-3110-49F9-A333-81E87B2F4094}" type="pres">
      <dgm:prSet presAssocID="{9E68B85A-B18D-41CF-9775-2BC650BC0972}" presName="aSpace2" presStyleCnt="0"/>
      <dgm:spPr/>
    </dgm:pt>
    <dgm:pt modelId="{01C1D765-8244-46FB-8870-71D90966AD96}" type="pres">
      <dgm:prSet presAssocID="{C5895BA9-163C-4208-A6BF-084F9B6AC90C}" presName="childNode" presStyleLbl="node1" presStyleIdx="2" presStyleCnt="9">
        <dgm:presLayoutVars>
          <dgm:bulletEnabled val="1"/>
        </dgm:presLayoutVars>
      </dgm:prSet>
      <dgm:spPr/>
    </dgm:pt>
    <dgm:pt modelId="{444FFCA0-5D8D-4DB1-8F3D-E2647C3C8CB7}" type="pres">
      <dgm:prSet presAssocID="{C5895BA9-163C-4208-A6BF-084F9B6AC90C}" presName="aSpace2" presStyleCnt="0"/>
      <dgm:spPr/>
    </dgm:pt>
    <dgm:pt modelId="{3D78ADA2-272D-411C-B2B6-13D382D3CDE1}" type="pres">
      <dgm:prSet presAssocID="{031C5A1A-244B-428B-8D45-C036CE436AE3}" presName="childNode" presStyleLbl="node1" presStyleIdx="3" presStyleCnt="9">
        <dgm:presLayoutVars>
          <dgm:bulletEnabled val="1"/>
        </dgm:presLayoutVars>
      </dgm:prSet>
      <dgm:spPr/>
    </dgm:pt>
    <dgm:pt modelId="{60931C46-575A-4463-8278-02F9FA19A47F}" type="pres">
      <dgm:prSet presAssocID="{361B6FC7-9AE6-4BED-BFCA-55408184026F}" presName="aSpace" presStyleCnt="0"/>
      <dgm:spPr/>
    </dgm:pt>
    <dgm:pt modelId="{54261FE7-B355-4C23-8FD9-441AB8BD92B0}" type="pres">
      <dgm:prSet presAssocID="{17F0D111-F35A-4828-A6B2-1D58D838F8F5}" presName="compNode" presStyleCnt="0"/>
      <dgm:spPr/>
    </dgm:pt>
    <dgm:pt modelId="{EFCD26AF-3F31-489A-9E3F-A3CABBFA907F}" type="pres">
      <dgm:prSet presAssocID="{17F0D111-F35A-4828-A6B2-1D58D838F8F5}" presName="aNode" presStyleLbl="bgShp" presStyleIdx="1" presStyleCnt="2"/>
      <dgm:spPr/>
    </dgm:pt>
    <dgm:pt modelId="{D93DF785-4D0A-4EEA-AC19-ECE0D0D6F5D4}" type="pres">
      <dgm:prSet presAssocID="{17F0D111-F35A-4828-A6B2-1D58D838F8F5}" presName="textNode" presStyleLbl="bgShp" presStyleIdx="1" presStyleCnt="2"/>
      <dgm:spPr/>
    </dgm:pt>
    <dgm:pt modelId="{6D31DD1A-5389-4E67-87D4-079DD6CF665A}" type="pres">
      <dgm:prSet presAssocID="{17F0D111-F35A-4828-A6B2-1D58D838F8F5}" presName="compChildNode" presStyleCnt="0"/>
      <dgm:spPr/>
    </dgm:pt>
    <dgm:pt modelId="{485FC8EA-CE02-416F-9898-FC4ECD2ECF35}" type="pres">
      <dgm:prSet presAssocID="{17F0D111-F35A-4828-A6B2-1D58D838F8F5}" presName="theInnerList" presStyleCnt="0"/>
      <dgm:spPr/>
    </dgm:pt>
    <dgm:pt modelId="{E4E4779A-ABBB-49EF-9361-2A78548A1D84}" type="pres">
      <dgm:prSet presAssocID="{A37E18F9-4125-476A-B6AF-4B8F34E0777A}" presName="childNode" presStyleLbl="node1" presStyleIdx="4" presStyleCnt="9">
        <dgm:presLayoutVars>
          <dgm:bulletEnabled val="1"/>
        </dgm:presLayoutVars>
      </dgm:prSet>
      <dgm:spPr/>
    </dgm:pt>
    <dgm:pt modelId="{E90DC14A-5D8F-4FA5-AF69-52649914DF62}" type="pres">
      <dgm:prSet presAssocID="{A37E18F9-4125-476A-B6AF-4B8F34E0777A}" presName="aSpace2" presStyleCnt="0"/>
      <dgm:spPr/>
    </dgm:pt>
    <dgm:pt modelId="{2FDB4016-6281-4CE7-B22E-75ECA9F233EA}" type="pres">
      <dgm:prSet presAssocID="{8AA4828F-DABB-4C9F-9896-D03C03766E92}" presName="childNode" presStyleLbl="node1" presStyleIdx="5" presStyleCnt="9">
        <dgm:presLayoutVars>
          <dgm:bulletEnabled val="1"/>
        </dgm:presLayoutVars>
      </dgm:prSet>
      <dgm:spPr/>
    </dgm:pt>
    <dgm:pt modelId="{8BF60CBF-EBFB-49A8-8C3A-732073DC125A}" type="pres">
      <dgm:prSet presAssocID="{8AA4828F-DABB-4C9F-9896-D03C03766E92}" presName="aSpace2" presStyleCnt="0"/>
      <dgm:spPr/>
    </dgm:pt>
    <dgm:pt modelId="{AB09A056-BD57-4C41-AA5C-A916E8F541AE}" type="pres">
      <dgm:prSet presAssocID="{604D8095-36E0-479F-849E-13265200CB82}" presName="childNode" presStyleLbl="node1" presStyleIdx="6" presStyleCnt="9">
        <dgm:presLayoutVars>
          <dgm:bulletEnabled val="1"/>
        </dgm:presLayoutVars>
      </dgm:prSet>
      <dgm:spPr/>
    </dgm:pt>
    <dgm:pt modelId="{18A85DA9-83A8-4AFE-A80C-6E7F1C061F02}" type="pres">
      <dgm:prSet presAssocID="{604D8095-36E0-479F-849E-13265200CB82}" presName="aSpace2" presStyleCnt="0"/>
      <dgm:spPr/>
    </dgm:pt>
    <dgm:pt modelId="{CA0EE14C-E0CE-4B0E-92CE-1B9624A2E0BB}" type="pres">
      <dgm:prSet presAssocID="{E8F8E3DB-30D8-41CE-B9AC-E6CC91D807AE}" presName="childNode" presStyleLbl="node1" presStyleIdx="7" presStyleCnt="9">
        <dgm:presLayoutVars>
          <dgm:bulletEnabled val="1"/>
        </dgm:presLayoutVars>
      </dgm:prSet>
      <dgm:spPr/>
    </dgm:pt>
    <dgm:pt modelId="{4CC79C8D-7709-44F3-9CFF-FE4491408E64}" type="pres">
      <dgm:prSet presAssocID="{E8F8E3DB-30D8-41CE-B9AC-E6CC91D807AE}" presName="aSpace2" presStyleCnt="0"/>
      <dgm:spPr/>
    </dgm:pt>
    <dgm:pt modelId="{AD7350AB-7EB9-4720-905E-853297AC3C74}" type="pres">
      <dgm:prSet presAssocID="{4E2E7CC0-0E91-4877-B196-A51F97997F1B}" presName="childNode" presStyleLbl="node1" presStyleIdx="8" presStyleCnt="9">
        <dgm:presLayoutVars>
          <dgm:bulletEnabled val="1"/>
        </dgm:presLayoutVars>
      </dgm:prSet>
      <dgm:spPr/>
    </dgm:pt>
  </dgm:ptLst>
  <dgm:cxnLst>
    <dgm:cxn modelId="{9441C405-34C8-4DE6-BCF5-819268FDB114}" srcId="{17F0D111-F35A-4828-A6B2-1D58D838F8F5}" destId="{A37E18F9-4125-476A-B6AF-4B8F34E0777A}" srcOrd="0" destOrd="0" parTransId="{A51E8CF7-55E0-41FD-8251-46C08FDE0CC1}" sibTransId="{AD662088-F61C-4C8F-AE68-396FC8CB55AC}"/>
    <dgm:cxn modelId="{D9E97BFB-64F4-49EE-B00F-E2750F35AC95}" type="presOf" srcId="{8AA4828F-DABB-4C9F-9896-D03C03766E92}" destId="{2FDB4016-6281-4CE7-B22E-75ECA9F233EA}" srcOrd="0" destOrd="0" presId="urn:microsoft.com/office/officeart/2005/8/layout/lProcess2"/>
    <dgm:cxn modelId="{4DBE4946-AA8C-47F2-BCCC-04E8F5AACCB1}" srcId="{361B6FC7-9AE6-4BED-BFCA-55408184026F}" destId="{6B923BBC-BA40-421F-8B71-CEAAAF5B7B00}" srcOrd="0" destOrd="0" parTransId="{C52D230C-0499-455B-9B24-B94573E3DC4B}" sibTransId="{555BDE9B-3A73-4022-9CB7-C9F4E80D6F18}"/>
    <dgm:cxn modelId="{01E4E250-3523-496A-A5B7-95270E378A88}" srcId="{361B6FC7-9AE6-4BED-BFCA-55408184026F}" destId="{C5895BA9-163C-4208-A6BF-084F9B6AC90C}" srcOrd="2" destOrd="0" parTransId="{577A4BC9-70AE-4C79-B6B7-B7C42705CBDE}" sibTransId="{774B2387-B702-4EA3-8439-8CC69FA980B1}"/>
    <dgm:cxn modelId="{08719345-ED60-464E-BA92-446A1C4284C7}" type="presOf" srcId="{17F0D111-F35A-4828-A6B2-1D58D838F8F5}" destId="{D93DF785-4D0A-4EEA-AC19-ECE0D0D6F5D4}" srcOrd="1" destOrd="0" presId="urn:microsoft.com/office/officeart/2005/8/layout/lProcess2"/>
    <dgm:cxn modelId="{6899B3BF-67EC-4B93-B72B-664C8177B948}" srcId="{69313E6A-0EE0-4D27-B617-D88124F23EC4}" destId="{17F0D111-F35A-4828-A6B2-1D58D838F8F5}" srcOrd="1" destOrd="0" parTransId="{3F500595-A47E-436D-8446-BBAF7A6F0467}" sibTransId="{6062AE7C-EA3A-4C3D-A70A-A2F0E3F0D9FF}"/>
    <dgm:cxn modelId="{6952B7F3-E908-4175-97CD-011998C5BDA1}" srcId="{17F0D111-F35A-4828-A6B2-1D58D838F8F5}" destId="{604D8095-36E0-479F-849E-13265200CB82}" srcOrd="2" destOrd="0" parTransId="{F99483A1-F88E-4DE5-9B08-59A9B54C6CA6}" sibTransId="{C5584E01-A18F-4AA5-9D3F-DACAB5065066}"/>
    <dgm:cxn modelId="{4CE3646E-2E92-4697-AF5F-67876B9BDE6B}" type="presOf" srcId="{4E2E7CC0-0E91-4877-B196-A51F97997F1B}" destId="{AD7350AB-7EB9-4720-905E-853297AC3C74}" srcOrd="0" destOrd="0" presId="urn:microsoft.com/office/officeart/2005/8/layout/lProcess2"/>
    <dgm:cxn modelId="{3B817331-93A3-4733-985F-9BD2780B5AE7}" srcId="{17F0D111-F35A-4828-A6B2-1D58D838F8F5}" destId="{4E2E7CC0-0E91-4877-B196-A51F97997F1B}" srcOrd="4" destOrd="0" parTransId="{83E00746-8715-42D0-B634-99576FDBBD21}" sibTransId="{FC0992EC-1505-474C-B8D8-1F738B0B43CF}"/>
    <dgm:cxn modelId="{2C59AA2C-D998-4180-B2E2-DB1C7E24F39C}" type="presOf" srcId="{031C5A1A-244B-428B-8D45-C036CE436AE3}" destId="{3D78ADA2-272D-411C-B2B6-13D382D3CDE1}" srcOrd="0" destOrd="0" presId="urn:microsoft.com/office/officeart/2005/8/layout/lProcess2"/>
    <dgm:cxn modelId="{C8A55B9A-F1AA-49B7-BA70-307C459EB597}" type="presOf" srcId="{E8F8E3DB-30D8-41CE-B9AC-E6CC91D807AE}" destId="{CA0EE14C-E0CE-4B0E-92CE-1B9624A2E0BB}" srcOrd="0" destOrd="0" presId="urn:microsoft.com/office/officeart/2005/8/layout/lProcess2"/>
    <dgm:cxn modelId="{A398748F-EAC8-4A78-A7C3-87CD4E951294}" type="presOf" srcId="{69313E6A-0EE0-4D27-B617-D88124F23EC4}" destId="{4A23EAAF-1187-4744-A976-58687BCBF7E3}" srcOrd="0" destOrd="0" presId="urn:microsoft.com/office/officeart/2005/8/layout/lProcess2"/>
    <dgm:cxn modelId="{47FEEA52-D6C8-427A-9224-0F5CAA3CB99B}" type="presOf" srcId="{9E68B85A-B18D-41CF-9775-2BC650BC0972}" destId="{452A2050-6D64-4E58-9BA9-40F05C6B08B4}" srcOrd="0" destOrd="0" presId="urn:microsoft.com/office/officeart/2005/8/layout/lProcess2"/>
    <dgm:cxn modelId="{03FEEB3C-A371-4286-BC1F-7312F7BDE40A}" srcId="{17F0D111-F35A-4828-A6B2-1D58D838F8F5}" destId="{E8F8E3DB-30D8-41CE-B9AC-E6CC91D807AE}" srcOrd="3" destOrd="0" parTransId="{73EC4CE2-B9FA-471E-92B0-9863F12F0FD5}" sibTransId="{0E5B170B-1BAE-4D8F-BEB0-BD4D2B8BAD1B}"/>
    <dgm:cxn modelId="{83696047-DEF3-4088-A2D3-A42091B128D0}" type="presOf" srcId="{6B923BBC-BA40-421F-8B71-CEAAAF5B7B00}" destId="{D55AE418-C6E8-4E53-B7E1-7D143A6EB305}" srcOrd="0" destOrd="0" presId="urn:microsoft.com/office/officeart/2005/8/layout/lProcess2"/>
    <dgm:cxn modelId="{259ED0F6-7BB9-4A62-AF76-2E1686C66D82}" type="presOf" srcId="{361B6FC7-9AE6-4BED-BFCA-55408184026F}" destId="{9E9E667E-D66B-4499-8A26-A8F00B143C38}" srcOrd="0" destOrd="0" presId="urn:microsoft.com/office/officeart/2005/8/layout/lProcess2"/>
    <dgm:cxn modelId="{DCD55808-76A7-4AB2-8647-8E633AF33FDF}" srcId="{361B6FC7-9AE6-4BED-BFCA-55408184026F}" destId="{031C5A1A-244B-428B-8D45-C036CE436AE3}" srcOrd="3" destOrd="0" parTransId="{0E7849C7-D59F-486D-9D55-42DA6BD5D59D}" sibTransId="{F8FEBD12-B10B-42A0-A165-ED2DF4FB10F2}"/>
    <dgm:cxn modelId="{CF634DC1-A443-4B75-83B3-212CA3FFF6D6}" type="presOf" srcId="{604D8095-36E0-479F-849E-13265200CB82}" destId="{AB09A056-BD57-4C41-AA5C-A916E8F541AE}" srcOrd="0" destOrd="0" presId="urn:microsoft.com/office/officeart/2005/8/layout/lProcess2"/>
    <dgm:cxn modelId="{D87BD183-4B43-4CB3-B271-8926FE2F1E06}" srcId="{69313E6A-0EE0-4D27-B617-D88124F23EC4}" destId="{361B6FC7-9AE6-4BED-BFCA-55408184026F}" srcOrd="0" destOrd="0" parTransId="{0DEA096C-7CC2-464D-BB10-89B6658724EF}" sibTransId="{F0036FD9-BD52-4DF7-8995-49720DC2E18D}"/>
    <dgm:cxn modelId="{ED7F74CC-67AC-42E0-B7B6-27BF503A2ED6}" type="presOf" srcId="{C5895BA9-163C-4208-A6BF-084F9B6AC90C}" destId="{01C1D765-8244-46FB-8870-71D90966AD96}" srcOrd="0" destOrd="0" presId="urn:microsoft.com/office/officeart/2005/8/layout/lProcess2"/>
    <dgm:cxn modelId="{356B53BB-F162-4E61-858A-C85C6B3C1864}" type="presOf" srcId="{A37E18F9-4125-476A-B6AF-4B8F34E0777A}" destId="{E4E4779A-ABBB-49EF-9361-2A78548A1D84}" srcOrd="0" destOrd="0" presId="urn:microsoft.com/office/officeart/2005/8/layout/lProcess2"/>
    <dgm:cxn modelId="{B5D24A2C-493D-42C0-9722-6A2E09D80947}" type="presOf" srcId="{361B6FC7-9AE6-4BED-BFCA-55408184026F}" destId="{B2AA4426-614B-4D40-8106-96274F60B0F5}" srcOrd="1" destOrd="0" presId="urn:microsoft.com/office/officeart/2005/8/layout/lProcess2"/>
    <dgm:cxn modelId="{3B8D39B8-A38F-4152-BBE7-8DC3E1AF5C18}" srcId="{17F0D111-F35A-4828-A6B2-1D58D838F8F5}" destId="{8AA4828F-DABB-4C9F-9896-D03C03766E92}" srcOrd="1" destOrd="0" parTransId="{25D28638-3D3B-4818-8BFB-24F10ED733F6}" sibTransId="{30CB99F5-73CD-405C-8940-C2E12ABDD508}"/>
    <dgm:cxn modelId="{217EB79C-6140-44C1-946A-E0DE6528BF8C}" srcId="{361B6FC7-9AE6-4BED-BFCA-55408184026F}" destId="{9E68B85A-B18D-41CF-9775-2BC650BC0972}" srcOrd="1" destOrd="0" parTransId="{4A56277C-E711-4F8B-99AA-A9E5FF58F75F}" sibTransId="{595C730F-E203-4FB6-A299-9C5ABA5BE2E3}"/>
    <dgm:cxn modelId="{F87102F3-DA09-4558-AF27-9577C27ED67A}" type="presOf" srcId="{17F0D111-F35A-4828-A6B2-1D58D838F8F5}" destId="{EFCD26AF-3F31-489A-9E3F-A3CABBFA907F}" srcOrd="0" destOrd="0" presId="urn:microsoft.com/office/officeart/2005/8/layout/lProcess2"/>
    <dgm:cxn modelId="{F16A1EE1-1A83-4557-A838-E96EB8E5D190}" type="presParOf" srcId="{4A23EAAF-1187-4744-A976-58687BCBF7E3}" destId="{BC7AF73A-B64B-48A2-B697-FEFB88F98199}" srcOrd="0" destOrd="0" presId="urn:microsoft.com/office/officeart/2005/8/layout/lProcess2"/>
    <dgm:cxn modelId="{7670FC64-5571-47B1-9ABA-BD64C9819216}" type="presParOf" srcId="{BC7AF73A-B64B-48A2-B697-FEFB88F98199}" destId="{9E9E667E-D66B-4499-8A26-A8F00B143C38}" srcOrd="0" destOrd="0" presId="urn:microsoft.com/office/officeart/2005/8/layout/lProcess2"/>
    <dgm:cxn modelId="{18A76B58-4EEC-4883-84A9-62366F1719D5}" type="presParOf" srcId="{BC7AF73A-B64B-48A2-B697-FEFB88F98199}" destId="{B2AA4426-614B-4D40-8106-96274F60B0F5}" srcOrd="1" destOrd="0" presId="urn:microsoft.com/office/officeart/2005/8/layout/lProcess2"/>
    <dgm:cxn modelId="{2BEDDF7E-AB3A-4B25-90D6-DB3C54A20A8D}" type="presParOf" srcId="{BC7AF73A-B64B-48A2-B697-FEFB88F98199}" destId="{C4540A96-E88A-4752-B716-9AE031EC458A}" srcOrd="2" destOrd="0" presId="urn:microsoft.com/office/officeart/2005/8/layout/lProcess2"/>
    <dgm:cxn modelId="{582984EF-F2DD-44B6-BDA8-5256B1006329}" type="presParOf" srcId="{C4540A96-E88A-4752-B716-9AE031EC458A}" destId="{863AACCF-ACF8-40F1-8AA7-D480620E32DA}" srcOrd="0" destOrd="0" presId="urn:microsoft.com/office/officeart/2005/8/layout/lProcess2"/>
    <dgm:cxn modelId="{CBFE10ED-9F3A-49FB-BCD2-4969E8AEF694}" type="presParOf" srcId="{863AACCF-ACF8-40F1-8AA7-D480620E32DA}" destId="{D55AE418-C6E8-4E53-B7E1-7D143A6EB305}" srcOrd="0" destOrd="0" presId="urn:microsoft.com/office/officeart/2005/8/layout/lProcess2"/>
    <dgm:cxn modelId="{C57E010C-EE9D-4C3E-87DB-785287CEA5BA}" type="presParOf" srcId="{863AACCF-ACF8-40F1-8AA7-D480620E32DA}" destId="{706B89E0-C386-4AD3-96CA-AA20EC33205A}" srcOrd="1" destOrd="0" presId="urn:microsoft.com/office/officeart/2005/8/layout/lProcess2"/>
    <dgm:cxn modelId="{F1956806-E6D1-4D90-8CAC-89619AD5F05A}" type="presParOf" srcId="{863AACCF-ACF8-40F1-8AA7-D480620E32DA}" destId="{452A2050-6D64-4E58-9BA9-40F05C6B08B4}" srcOrd="2" destOrd="0" presId="urn:microsoft.com/office/officeart/2005/8/layout/lProcess2"/>
    <dgm:cxn modelId="{592B428E-F5D2-4466-B0C6-8A5CF427BDED}" type="presParOf" srcId="{863AACCF-ACF8-40F1-8AA7-D480620E32DA}" destId="{857ED767-3110-49F9-A333-81E87B2F4094}" srcOrd="3" destOrd="0" presId="urn:microsoft.com/office/officeart/2005/8/layout/lProcess2"/>
    <dgm:cxn modelId="{31B45E27-7E4E-44DA-9CF6-D073949D66BE}" type="presParOf" srcId="{863AACCF-ACF8-40F1-8AA7-D480620E32DA}" destId="{01C1D765-8244-46FB-8870-71D90966AD96}" srcOrd="4" destOrd="0" presId="urn:microsoft.com/office/officeart/2005/8/layout/lProcess2"/>
    <dgm:cxn modelId="{4DE31E43-BEF1-4D45-8904-3BE3141038D4}" type="presParOf" srcId="{863AACCF-ACF8-40F1-8AA7-D480620E32DA}" destId="{444FFCA0-5D8D-4DB1-8F3D-E2647C3C8CB7}" srcOrd="5" destOrd="0" presId="urn:microsoft.com/office/officeart/2005/8/layout/lProcess2"/>
    <dgm:cxn modelId="{811B72BB-4529-4F0B-91DE-BA2E1B49FBDE}" type="presParOf" srcId="{863AACCF-ACF8-40F1-8AA7-D480620E32DA}" destId="{3D78ADA2-272D-411C-B2B6-13D382D3CDE1}" srcOrd="6" destOrd="0" presId="urn:microsoft.com/office/officeart/2005/8/layout/lProcess2"/>
    <dgm:cxn modelId="{8DB87C87-DBD2-4133-B666-F88ADBC470F5}" type="presParOf" srcId="{4A23EAAF-1187-4744-A976-58687BCBF7E3}" destId="{60931C46-575A-4463-8278-02F9FA19A47F}" srcOrd="1" destOrd="0" presId="urn:microsoft.com/office/officeart/2005/8/layout/lProcess2"/>
    <dgm:cxn modelId="{832936AB-DCFF-46B7-90A8-55A819FB80E2}" type="presParOf" srcId="{4A23EAAF-1187-4744-A976-58687BCBF7E3}" destId="{54261FE7-B355-4C23-8FD9-441AB8BD92B0}" srcOrd="2" destOrd="0" presId="urn:microsoft.com/office/officeart/2005/8/layout/lProcess2"/>
    <dgm:cxn modelId="{6945CB1F-8A3A-4724-A9BC-19F5FCDD18B1}" type="presParOf" srcId="{54261FE7-B355-4C23-8FD9-441AB8BD92B0}" destId="{EFCD26AF-3F31-489A-9E3F-A3CABBFA907F}" srcOrd="0" destOrd="0" presId="urn:microsoft.com/office/officeart/2005/8/layout/lProcess2"/>
    <dgm:cxn modelId="{B666C6AA-FC66-434D-A7F3-7700E060D1A4}" type="presParOf" srcId="{54261FE7-B355-4C23-8FD9-441AB8BD92B0}" destId="{D93DF785-4D0A-4EEA-AC19-ECE0D0D6F5D4}" srcOrd="1" destOrd="0" presId="urn:microsoft.com/office/officeart/2005/8/layout/lProcess2"/>
    <dgm:cxn modelId="{5349A30D-65E0-48AA-8261-81A5A4C602DB}" type="presParOf" srcId="{54261FE7-B355-4C23-8FD9-441AB8BD92B0}" destId="{6D31DD1A-5389-4E67-87D4-079DD6CF665A}" srcOrd="2" destOrd="0" presId="urn:microsoft.com/office/officeart/2005/8/layout/lProcess2"/>
    <dgm:cxn modelId="{A55C36F8-C2D5-4949-8251-0F0D78315064}" type="presParOf" srcId="{6D31DD1A-5389-4E67-87D4-079DD6CF665A}" destId="{485FC8EA-CE02-416F-9898-FC4ECD2ECF35}" srcOrd="0" destOrd="0" presId="urn:microsoft.com/office/officeart/2005/8/layout/lProcess2"/>
    <dgm:cxn modelId="{9CB63A8C-E6BD-4810-A4A4-762FB94936D6}" type="presParOf" srcId="{485FC8EA-CE02-416F-9898-FC4ECD2ECF35}" destId="{E4E4779A-ABBB-49EF-9361-2A78548A1D84}" srcOrd="0" destOrd="0" presId="urn:microsoft.com/office/officeart/2005/8/layout/lProcess2"/>
    <dgm:cxn modelId="{FB8028DE-CDEA-4AB5-8C70-50C89A77C878}" type="presParOf" srcId="{485FC8EA-CE02-416F-9898-FC4ECD2ECF35}" destId="{E90DC14A-5D8F-4FA5-AF69-52649914DF62}" srcOrd="1" destOrd="0" presId="urn:microsoft.com/office/officeart/2005/8/layout/lProcess2"/>
    <dgm:cxn modelId="{EE10ECA0-AEBD-49E5-93F4-5A30DD4A711A}" type="presParOf" srcId="{485FC8EA-CE02-416F-9898-FC4ECD2ECF35}" destId="{2FDB4016-6281-4CE7-B22E-75ECA9F233EA}" srcOrd="2" destOrd="0" presId="urn:microsoft.com/office/officeart/2005/8/layout/lProcess2"/>
    <dgm:cxn modelId="{D0A84042-265F-45A7-B4B3-B7D3834B8359}" type="presParOf" srcId="{485FC8EA-CE02-416F-9898-FC4ECD2ECF35}" destId="{8BF60CBF-EBFB-49A8-8C3A-732073DC125A}" srcOrd="3" destOrd="0" presId="urn:microsoft.com/office/officeart/2005/8/layout/lProcess2"/>
    <dgm:cxn modelId="{D80F8D2F-C2FD-4219-984B-3CA2AE1A1A89}" type="presParOf" srcId="{485FC8EA-CE02-416F-9898-FC4ECD2ECF35}" destId="{AB09A056-BD57-4C41-AA5C-A916E8F541AE}" srcOrd="4" destOrd="0" presId="urn:microsoft.com/office/officeart/2005/8/layout/lProcess2"/>
    <dgm:cxn modelId="{CAA41329-CB32-45E7-A81E-701B6F8EF4F8}" type="presParOf" srcId="{485FC8EA-CE02-416F-9898-FC4ECD2ECF35}" destId="{18A85DA9-83A8-4AFE-A80C-6E7F1C061F02}" srcOrd="5" destOrd="0" presId="urn:microsoft.com/office/officeart/2005/8/layout/lProcess2"/>
    <dgm:cxn modelId="{3CBCDC11-9119-4A43-AECC-7DFCCBAB1CF6}" type="presParOf" srcId="{485FC8EA-CE02-416F-9898-FC4ECD2ECF35}" destId="{CA0EE14C-E0CE-4B0E-92CE-1B9624A2E0BB}" srcOrd="6" destOrd="0" presId="urn:microsoft.com/office/officeart/2005/8/layout/lProcess2"/>
    <dgm:cxn modelId="{512D57A5-E2A9-4394-8F1B-DB857C9B7508}" type="presParOf" srcId="{485FC8EA-CE02-416F-9898-FC4ECD2ECF35}" destId="{4CC79C8D-7709-44F3-9CFF-FE4491408E64}" srcOrd="7" destOrd="0" presId="urn:microsoft.com/office/officeart/2005/8/layout/lProcess2"/>
    <dgm:cxn modelId="{B36BCB0C-BA44-47B6-9B35-9FCB5052BE3F}" type="presParOf" srcId="{485FC8EA-CE02-416F-9898-FC4ECD2ECF35}" destId="{AD7350AB-7EB9-4720-905E-853297AC3C74}" srcOrd="8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B7F66D8B-3915-458C-8B16-25769917CD4F}" type="doc">
      <dgm:prSet loTypeId="urn:microsoft.com/office/officeart/2005/8/layout/hierarchy2" loCatId="hierarchy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5F67D14D-997B-4968-BB56-99B802C8741E}">
      <dgm:prSet phldrT="[Text]" custT="1"/>
      <dgm:spPr/>
      <dgm:t>
        <a:bodyPr/>
        <a:lstStyle/>
        <a:p>
          <a:r>
            <a:rPr lang="en-US" sz="1600" dirty="0"/>
            <a:t>6 months</a:t>
          </a:r>
        </a:p>
        <a:p>
          <a:r>
            <a:rPr lang="en-US" sz="1200" dirty="0"/>
            <a:t>(1 year by PCI DSS)</a:t>
          </a:r>
        </a:p>
      </dgm:t>
    </dgm:pt>
    <dgm:pt modelId="{8B06975A-1179-4E74-BBE7-B7C585C638BD}" type="parTrans" cxnId="{79941DA3-7C16-49F1-9194-91637E79D130}">
      <dgm:prSet/>
      <dgm:spPr/>
      <dgm:t>
        <a:bodyPr/>
        <a:lstStyle/>
        <a:p>
          <a:endParaRPr lang="en-US"/>
        </a:p>
      </dgm:t>
    </dgm:pt>
    <dgm:pt modelId="{577F0D5E-394F-48A1-924A-70D7513A9A61}" type="sibTrans" cxnId="{79941DA3-7C16-49F1-9194-91637E79D130}">
      <dgm:prSet/>
      <dgm:spPr/>
      <dgm:t>
        <a:bodyPr/>
        <a:lstStyle/>
        <a:p>
          <a:endParaRPr lang="en-US"/>
        </a:p>
      </dgm:t>
    </dgm:pt>
    <dgm:pt modelId="{3BEA6C6C-2762-4F56-AB89-60B1C190F915}">
      <dgm:prSet phldrT="[Text]"/>
      <dgm:spPr/>
      <dgm:t>
        <a:bodyPr/>
        <a:lstStyle/>
        <a:p>
          <a:r>
            <a:rPr lang="en-US" dirty="0"/>
            <a:t>No or minor changes</a:t>
          </a:r>
        </a:p>
      </dgm:t>
    </dgm:pt>
    <dgm:pt modelId="{BA9EB44F-4B15-4056-8AA5-64CAC12355C9}" type="parTrans" cxnId="{1BD47A28-3B50-4FEE-BA1F-E2E6692ADACF}">
      <dgm:prSet/>
      <dgm:spPr/>
      <dgm:t>
        <a:bodyPr/>
        <a:lstStyle/>
        <a:p>
          <a:endParaRPr lang="en-US"/>
        </a:p>
      </dgm:t>
    </dgm:pt>
    <dgm:pt modelId="{4CE2377F-FB0E-4F0A-897E-624B59238EF7}" type="sibTrans" cxnId="{1BD47A28-3B50-4FEE-BA1F-E2E6692ADACF}">
      <dgm:prSet/>
      <dgm:spPr/>
      <dgm:t>
        <a:bodyPr/>
        <a:lstStyle/>
        <a:p>
          <a:endParaRPr lang="en-US"/>
        </a:p>
      </dgm:t>
    </dgm:pt>
    <dgm:pt modelId="{094D4007-7BF8-40DB-8D4C-496EDE91635D}">
      <dgm:prSet phldrT="[Text]"/>
      <dgm:spPr/>
      <dgm:t>
        <a:bodyPr/>
        <a:lstStyle/>
        <a:p>
          <a:r>
            <a:rPr lang="en-US" dirty="0"/>
            <a:t>Security assessment</a:t>
          </a:r>
        </a:p>
      </dgm:t>
    </dgm:pt>
    <dgm:pt modelId="{20A7FBE6-D5DB-4E30-AC25-4CA81DF8246B}" type="parTrans" cxnId="{ADA8C696-420A-43B3-ADD0-2B7BBC0049F6}">
      <dgm:prSet/>
      <dgm:spPr/>
      <dgm:t>
        <a:bodyPr/>
        <a:lstStyle/>
        <a:p>
          <a:endParaRPr lang="en-US"/>
        </a:p>
      </dgm:t>
    </dgm:pt>
    <dgm:pt modelId="{F05302F6-2648-415C-993D-292E7E424ED0}" type="sibTrans" cxnId="{ADA8C696-420A-43B3-ADD0-2B7BBC0049F6}">
      <dgm:prSet/>
      <dgm:spPr/>
      <dgm:t>
        <a:bodyPr/>
        <a:lstStyle/>
        <a:p>
          <a:endParaRPr lang="en-US"/>
        </a:p>
      </dgm:t>
    </dgm:pt>
    <dgm:pt modelId="{60FA3272-6587-4B2D-9F56-88FCDE9ECA7B}">
      <dgm:prSet phldrT="[Text]"/>
      <dgm:spPr/>
      <dgm:t>
        <a:bodyPr/>
        <a:lstStyle/>
        <a:p>
          <a:r>
            <a:rPr lang="en-US" dirty="0"/>
            <a:t>Application update</a:t>
          </a:r>
        </a:p>
      </dgm:t>
    </dgm:pt>
    <dgm:pt modelId="{D8F108DF-1AFA-4498-86AE-1D9BF41244FE}" type="parTrans" cxnId="{98A1CA75-756D-4F1D-B009-C14DEB6F60C5}">
      <dgm:prSet/>
      <dgm:spPr/>
      <dgm:t>
        <a:bodyPr/>
        <a:lstStyle/>
        <a:p>
          <a:endParaRPr lang="en-US"/>
        </a:p>
      </dgm:t>
    </dgm:pt>
    <dgm:pt modelId="{9B651749-C088-4A1D-B185-25B2EA41FCE5}" type="sibTrans" cxnId="{98A1CA75-756D-4F1D-B009-C14DEB6F60C5}">
      <dgm:prSet/>
      <dgm:spPr/>
      <dgm:t>
        <a:bodyPr/>
        <a:lstStyle/>
        <a:p>
          <a:endParaRPr lang="en-US"/>
        </a:p>
      </dgm:t>
    </dgm:pt>
    <dgm:pt modelId="{0AAC3F72-AB50-429B-AACE-94F1DAB7C632}">
      <dgm:prSet phldrT="[Text]"/>
      <dgm:spPr/>
      <dgm:t>
        <a:bodyPr/>
        <a:lstStyle/>
        <a:p>
          <a:r>
            <a:rPr lang="en-US" dirty="0"/>
            <a:t>Partial</a:t>
          </a:r>
        </a:p>
      </dgm:t>
    </dgm:pt>
    <dgm:pt modelId="{5AB829E7-DF64-4E44-B89D-1A2B90DEC36D}" type="parTrans" cxnId="{B97A76DA-2CD5-4950-9EC1-824A8FA33E9C}">
      <dgm:prSet/>
      <dgm:spPr/>
      <dgm:t>
        <a:bodyPr/>
        <a:lstStyle/>
        <a:p>
          <a:endParaRPr lang="en-US"/>
        </a:p>
      </dgm:t>
    </dgm:pt>
    <dgm:pt modelId="{263A2FB3-F93C-4B16-971E-F0CA125E7DE2}" type="sibTrans" cxnId="{B97A76DA-2CD5-4950-9EC1-824A8FA33E9C}">
      <dgm:prSet/>
      <dgm:spPr/>
      <dgm:t>
        <a:bodyPr/>
        <a:lstStyle/>
        <a:p>
          <a:endParaRPr lang="en-US"/>
        </a:p>
      </dgm:t>
    </dgm:pt>
    <dgm:pt modelId="{25CC26DE-E7F4-44AC-9EB1-A7066A1EF6B5}">
      <dgm:prSet phldrT="[Text]"/>
      <dgm:spPr/>
      <dgm:t>
        <a:bodyPr/>
        <a:lstStyle/>
        <a:p>
          <a:r>
            <a:rPr lang="en-US" dirty="0"/>
            <a:t>Full</a:t>
          </a:r>
        </a:p>
      </dgm:t>
    </dgm:pt>
    <dgm:pt modelId="{667DF5D9-2650-42F3-8BDD-F983E7347A35}" type="parTrans" cxnId="{E85CEF92-0281-4524-AED4-4BBA026CC9DF}">
      <dgm:prSet/>
      <dgm:spPr/>
      <dgm:t>
        <a:bodyPr/>
        <a:lstStyle/>
        <a:p>
          <a:endParaRPr lang="en-US"/>
        </a:p>
      </dgm:t>
    </dgm:pt>
    <dgm:pt modelId="{11FCC7D6-C99B-404F-9F11-01D17D610114}" type="sibTrans" cxnId="{E85CEF92-0281-4524-AED4-4BBA026CC9DF}">
      <dgm:prSet/>
      <dgm:spPr/>
      <dgm:t>
        <a:bodyPr/>
        <a:lstStyle/>
        <a:p>
          <a:endParaRPr lang="en-US"/>
        </a:p>
      </dgm:t>
    </dgm:pt>
    <dgm:pt modelId="{27BD98FA-8846-4657-9C7A-D706CA57EFEA}">
      <dgm:prSet phldrT="[Text]"/>
      <dgm:spPr/>
      <dgm:t>
        <a:bodyPr/>
        <a:lstStyle/>
        <a:p>
          <a:r>
            <a:rPr lang="en-US" dirty="0"/>
            <a:t>New functionality</a:t>
          </a:r>
        </a:p>
      </dgm:t>
    </dgm:pt>
    <dgm:pt modelId="{BC44DB5E-2F9B-4E1D-9FA7-D55CF5FB6494}" type="parTrans" cxnId="{FF83A6CF-2B34-4710-B988-AFFA51B19EA9}">
      <dgm:prSet/>
      <dgm:spPr/>
      <dgm:t>
        <a:bodyPr/>
        <a:lstStyle/>
        <a:p>
          <a:endParaRPr lang="en-US"/>
        </a:p>
      </dgm:t>
    </dgm:pt>
    <dgm:pt modelId="{F6511F67-8E39-4C86-8166-A1A9FED6C9DF}" type="sibTrans" cxnId="{FF83A6CF-2B34-4710-B988-AFFA51B19EA9}">
      <dgm:prSet/>
      <dgm:spPr/>
      <dgm:t>
        <a:bodyPr/>
        <a:lstStyle/>
        <a:p>
          <a:endParaRPr lang="en-US"/>
        </a:p>
      </dgm:t>
    </dgm:pt>
    <dgm:pt modelId="{167F9DA9-3356-42B1-8067-78E6B5CECCFD}">
      <dgm:prSet phldrT="[Text]"/>
      <dgm:spPr/>
      <dgm:t>
        <a:bodyPr/>
        <a:lstStyle/>
        <a:p>
          <a:r>
            <a:rPr lang="en-US" dirty="0"/>
            <a:t>Full </a:t>
          </a:r>
          <a:r>
            <a:rPr lang="en-US" dirty="0" err="1"/>
            <a:t>pentest</a:t>
          </a:r>
          <a:endParaRPr lang="en-US" dirty="0"/>
        </a:p>
      </dgm:t>
    </dgm:pt>
    <dgm:pt modelId="{3C44242A-96B6-4FCA-95BF-1FFD0A0F869F}" type="parTrans" cxnId="{7804D721-34D8-453A-B4EE-D61BD97AA772}">
      <dgm:prSet/>
      <dgm:spPr/>
      <dgm:t>
        <a:bodyPr/>
        <a:lstStyle/>
        <a:p>
          <a:endParaRPr lang="en-US"/>
        </a:p>
      </dgm:t>
    </dgm:pt>
    <dgm:pt modelId="{CFC92AD4-A9BB-4578-A21E-E43F7CBD0BF7}" type="sibTrans" cxnId="{7804D721-34D8-453A-B4EE-D61BD97AA772}">
      <dgm:prSet/>
      <dgm:spPr/>
      <dgm:t>
        <a:bodyPr/>
        <a:lstStyle/>
        <a:p>
          <a:endParaRPr lang="en-US"/>
        </a:p>
      </dgm:t>
    </dgm:pt>
    <dgm:pt modelId="{77B57837-FBA9-4DE3-AC20-1F11A7D354E4}" type="pres">
      <dgm:prSet presAssocID="{B7F66D8B-3915-458C-8B16-25769917CD4F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64E6C8DE-85ED-446C-B9F6-99507D0B12A2}" type="pres">
      <dgm:prSet presAssocID="{5F67D14D-997B-4968-BB56-99B802C8741E}" presName="root1" presStyleCnt="0"/>
      <dgm:spPr/>
    </dgm:pt>
    <dgm:pt modelId="{9A3BD074-F1DA-4E83-A600-0B0706F801DF}" type="pres">
      <dgm:prSet presAssocID="{5F67D14D-997B-4968-BB56-99B802C8741E}" presName="LevelOneTextNode" presStyleLbl="node0" presStyleIdx="0" presStyleCnt="1">
        <dgm:presLayoutVars>
          <dgm:chPref val="3"/>
        </dgm:presLayoutVars>
      </dgm:prSet>
      <dgm:spPr/>
    </dgm:pt>
    <dgm:pt modelId="{6A2D313F-95C8-44F1-B512-8311D29C0709}" type="pres">
      <dgm:prSet presAssocID="{5F67D14D-997B-4968-BB56-99B802C8741E}" presName="level2hierChild" presStyleCnt="0"/>
      <dgm:spPr/>
    </dgm:pt>
    <dgm:pt modelId="{093E687E-CED2-48DF-93C2-47EAC890136B}" type="pres">
      <dgm:prSet presAssocID="{BA9EB44F-4B15-4056-8AA5-64CAC12355C9}" presName="conn2-1" presStyleLbl="parChTrans1D2" presStyleIdx="0" presStyleCnt="3"/>
      <dgm:spPr/>
    </dgm:pt>
    <dgm:pt modelId="{3A5190A8-E662-4B71-9935-4A08BABBC314}" type="pres">
      <dgm:prSet presAssocID="{BA9EB44F-4B15-4056-8AA5-64CAC12355C9}" presName="connTx" presStyleLbl="parChTrans1D2" presStyleIdx="0" presStyleCnt="3"/>
      <dgm:spPr/>
    </dgm:pt>
    <dgm:pt modelId="{1E535F87-7E13-4ED4-B8D8-78DC045F7A63}" type="pres">
      <dgm:prSet presAssocID="{3BEA6C6C-2762-4F56-AB89-60B1C190F915}" presName="root2" presStyleCnt="0"/>
      <dgm:spPr/>
    </dgm:pt>
    <dgm:pt modelId="{936420ED-5053-4065-B448-F2B592EEE115}" type="pres">
      <dgm:prSet presAssocID="{3BEA6C6C-2762-4F56-AB89-60B1C190F915}" presName="LevelTwoTextNode" presStyleLbl="node2" presStyleIdx="0" presStyleCnt="3">
        <dgm:presLayoutVars>
          <dgm:chPref val="3"/>
        </dgm:presLayoutVars>
      </dgm:prSet>
      <dgm:spPr/>
    </dgm:pt>
    <dgm:pt modelId="{770B7982-F958-4358-803D-2FA33E5AF73F}" type="pres">
      <dgm:prSet presAssocID="{3BEA6C6C-2762-4F56-AB89-60B1C190F915}" presName="level3hierChild" presStyleCnt="0"/>
      <dgm:spPr/>
    </dgm:pt>
    <dgm:pt modelId="{1CE5FDBE-4632-4495-83F7-260E492CDBA3}" type="pres">
      <dgm:prSet presAssocID="{20A7FBE6-D5DB-4E30-AC25-4CA81DF8246B}" presName="conn2-1" presStyleLbl="parChTrans1D3" presStyleIdx="0" presStyleCnt="4"/>
      <dgm:spPr/>
    </dgm:pt>
    <dgm:pt modelId="{D45F4911-F719-41B7-8F66-FAF5924947C6}" type="pres">
      <dgm:prSet presAssocID="{20A7FBE6-D5DB-4E30-AC25-4CA81DF8246B}" presName="connTx" presStyleLbl="parChTrans1D3" presStyleIdx="0" presStyleCnt="4"/>
      <dgm:spPr/>
    </dgm:pt>
    <dgm:pt modelId="{506C3D35-AF4E-4A0D-87C7-B200435E895A}" type="pres">
      <dgm:prSet presAssocID="{094D4007-7BF8-40DB-8D4C-496EDE91635D}" presName="root2" presStyleCnt="0"/>
      <dgm:spPr/>
    </dgm:pt>
    <dgm:pt modelId="{B3394F2E-6EFF-4AE4-8C1D-1AA54AA52F31}" type="pres">
      <dgm:prSet presAssocID="{094D4007-7BF8-40DB-8D4C-496EDE91635D}" presName="LevelTwoTextNode" presStyleLbl="node3" presStyleIdx="0" presStyleCnt="4">
        <dgm:presLayoutVars>
          <dgm:chPref val="3"/>
        </dgm:presLayoutVars>
      </dgm:prSet>
      <dgm:spPr/>
    </dgm:pt>
    <dgm:pt modelId="{928B52C9-7A37-41D9-BF79-A98A2A4E3BCF}" type="pres">
      <dgm:prSet presAssocID="{094D4007-7BF8-40DB-8D4C-496EDE91635D}" presName="level3hierChild" presStyleCnt="0"/>
      <dgm:spPr/>
    </dgm:pt>
    <dgm:pt modelId="{F7FD2AB5-361B-4060-912C-316F9A54200E}" type="pres">
      <dgm:prSet presAssocID="{D8F108DF-1AFA-4498-86AE-1D9BF41244FE}" presName="conn2-1" presStyleLbl="parChTrans1D2" presStyleIdx="1" presStyleCnt="3"/>
      <dgm:spPr/>
    </dgm:pt>
    <dgm:pt modelId="{15311130-2D0B-4913-8D55-E542EF022ABD}" type="pres">
      <dgm:prSet presAssocID="{D8F108DF-1AFA-4498-86AE-1D9BF41244FE}" presName="connTx" presStyleLbl="parChTrans1D2" presStyleIdx="1" presStyleCnt="3"/>
      <dgm:spPr/>
    </dgm:pt>
    <dgm:pt modelId="{85D32BF8-9210-49B2-9EAB-1554CB35A691}" type="pres">
      <dgm:prSet presAssocID="{60FA3272-6587-4B2D-9F56-88FCDE9ECA7B}" presName="root2" presStyleCnt="0"/>
      <dgm:spPr/>
    </dgm:pt>
    <dgm:pt modelId="{FCB6F7D3-D187-40EE-9F73-548E11C6C72E}" type="pres">
      <dgm:prSet presAssocID="{60FA3272-6587-4B2D-9F56-88FCDE9ECA7B}" presName="LevelTwoTextNode" presStyleLbl="node2" presStyleIdx="1" presStyleCnt="3">
        <dgm:presLayoutVars>
          <dgm:chPref val="3"/>
        </dgm:presLayoutVars>
      </dgm:prSet>
      <dgm:spPr/>
    </dgm:pt>
    <dgm:pt modelId="{5D74325E-6BA7-4B21-B2B8-9C4790B30F0E}" type="pres">
      <dgm:prSet presAssocID="{60FA3272-6587-4B2D-9F56-88FCDE9ECA7B}" presName="level3hierChild" presStyleCnt="0"/>
      <dgm:spPr/>
    </dgm:pt>
    <dgm:pt modelId="{40FFD530-A26F-452F-AF0F-E00858568E61}" type="pres">
      <dgm:prSet presAssocID="{5AB829E7-DF64-4E44-B89D-1A2B90DEC36D}" presName="conn2-1" presStyleLbl="parChTrans1D3" presStyleIdx="1" presStyleCnt="4"/>
      <dgm:spPr/>
    </dgm:pt>
    <dgm:pt modelId="{6BF64E14-B23F-4925-A1CB-B309635C2E3F}" type="pres">
      <dgm:prSet presAssocID="{5AB829E7-DF64-4E44-B89D-1A2B90DEC36D}" presName="connTx" presStyleLbl="parChTrans1D3" presStyleIdx="1" presStyleCnt="4"/>
      <dgm:spPr/>
    </dgm:pt>
    <dgm:pt modelId="{94942C89-3285-4A31-8845-464436CF0BD6}" type="pres">
      <dgm:prSet presAssocID="{0AAC3F72-AB50-429B-AACE-94F1DAB7C632}" presName="root2" presStyleCnt="0"/>
      <dgm:spPr/>
    </dgm:pt>
    <dgm:pt modelId="{7ACD03A5-66A7-45A0-897A-DEC258147700}" type="pres">
      <dgm:prSet presAssocID="{0AAC3F72-AB50-429B-AACE-94F1DAB7C632}" presName="LevelTwoTextNode" presStyleLbl="node3" presStyleIdx="1" presStyleCnt="4">
        <dgm:presLayoutVars>
          <dgm:chPref val="3"/>
        </dgm:presLayoutVars>
      </dgm:prSet>
      <dgm:spPr/>
    </dgm:pt>
    <dgm:pt modelId="{8630370C-5DBA-4792-AA77-85D0D694D0E4}" type="pres">
      <dgm:prSet presAssocID="{0AAC3F72-AB50-429B-AACE-94F1DAB7C632}" presName="level3hierChild" presStyleCnt="0"/>
      <dgm:spPr/>
    </dgm:pt>
    <dgm:pt modelId="{C0BE7AFB-ADFF-4C7F-8AFC-28BEC6570A45}" type="pres">
      <dgm:prSet presAssocID="{667DF5D9-2650-42F3-8BDD-F983E7347A35}" presName="conn2-1" presStyleLbl="parChTrans1D3" presStyleIdx="2" presStyleCnt="4"/>
      <dgm:spPr/>
    </dgm:pt>
    <dgm:pt modelId="{72526992-A1DE-44BB-9B14-87E2443B5149}" type="pres">
      <dgm:prSet presAssocID="{667DF5D9-2650-42F3-8BDD-F983E7347A35}" presName="connTx" presStyleLbl="parChTrans1D3" presStyleIdx="2" presStyleCnt="4"/>
      <dgm:spPr/>
    </dgm:pt>
    <dgm:pt modelId="{3CBB60ED-FF9D-4155-9254-AB2131A483F7}" type="pres">
      <dgm:prSet presAssocID="{25CC26DE-E7F4-44AC-9EB1-A7066A1EF6B5}" presName="root2" presStyleCnt="0"/>
      <dgm:spPr/>
    </dgm:pt>
    <dgm:pt modelId="{50CB24DD-E7B5-416F-9602-61404DABD41A}" type="pres">
      <dgm:prSet presAssocID="{25CC26DE-E7F4-44AC-9EB1-A7066A1EF6B5}" presName="LevelTwoTextNode" presStyleLbl="node3" presStyleIdx="2" presStyleCnt="4">
        <dgm:presLayoutVars>
          <dgm:chPref val="3"/>
        </dgm:presLayoutVars>
      </dgm:prSet>
      <dgm:spPr/>
    </dgm:pt>
    <dgm:pt modelId="{8A540923-F171-4313-8CD5-F06339F3BE5D}" type="pres">
      <dgm:prSet presAssocID="{25CC26DE-E7F4-44AC-9EB1-A7066A1EF6B5}" presName="level3hierChild" presStyleCnt="0"/>
      <dgm:spPr/>
    </dgm:pt>
    <dgm:pt modelId="{C3FF6C36-3A9A-4C0B-BEC7-35450606D02E}" type="pres">
      <dgm:prSet presAssocID="{BC44DB5E-2F9B-4E1D-9FA7-D55CF5FB6494}" presName="conn2-1" presStyleLbl="parChTrans1D2" presStyleIdx="2" presStyleCnt="3"/>
      <dgm:spPr/>
    </dgm:pt>
    <dgm:pt modelId="{D65345A5-964C-4FED-9516-811EEB8595EB}" type="pres">
      <dgm:prSet presAssocID="{BC44DB5E-2F9B-4E1D-9FA7-D55CF5FB6494}" presName="connTx" presStyleLbl="parChTrans1D2" presStyleIdx="2" presStyleCnt="3"/>
      <dgm:spPr/>
    </dgm:pt>
    <dgm:pt modelId="{B7BBDFF6-3BCE-43B2-BB67-CC1896E39855}" type="pres">
      <dgm:prSet presAssocID="{27BD98FA-8846-4657-9C7A-D706CA57EFEA}" presName="root2" presStyleCnt="0"/>
      <dgm:spPr/>
    </dgm:pt>
    <dgm:pt modelId="{A182C9B7-2867-44BA-8C0C-D96A9EADA08F}" type="pres">
      <dgm:prSet presAssocID="{27BD98FA-8846-4657-9C7A-D706CA57EFEA}" presName="LevelTwoTextNode" presStyleLbl="node2" presStyleIdx="2" presStyleCnt="3">
        <dgm:presLayoutVars>
          <dgm:chPref val="3"/>
        </dgm:presLayoutVars>
      </dgm:prSet>
      <dgm:spPr/>
    </dgm:pt>
    <dgm:pt modelId="{18E824D8-8E5E-4C72-ABE4-8813C280EB10}" type="pres">
      <dgm:prSet presAssocID="{27BD98FA-8846-4657-9C7A-D706CA57EFEA}" presName="level3hierChild" presStyleCnt="0"/>
      <dgm:spPr/>
    </dgm:pt>
    <dgm:pt modelId="{CD5FC485-9ECE-49CA-92C3-0A02B577AA94}" type="pres">
      <dgm:prSet presAssocID="{3C44242A-96B6-4FCA-95BF-1FFD0A0F869F}" presName="conn2-1" presStyleLbl="parChTrans1D3" presStyleIdx="3" presStyleCnt="4"/>
      <dgm:spPr/>
    </dgm:pt>
    <dgm:pt modelId="{EADCC50E-327A-4B9B-9CDF-249FEEE7862E}" type="pres">
      <dgm:prSet presAssocID="{3C44242A-96B6-4FCA-95BF-1FFD0A0F869F}" presName="connTx" presStyleLbl="parChTrans1D3" presStyleIdx="3" presStyleCnt="4"/>
      <dgm:spPr/>
    </dgm:pt>
    <dgm:pt modelId="{322D5F7F-8D62-423C-BE87-F420B7CB3ADF}" type="pres">
      <dgm:prSet presAssocID="{167F9DA9-3356-42B1-8067-78E6B5CECCFD}" presName="root2" presStyleCnt="0"/>
      <dgm:spPr/>
    </dgm:pt>
    <dgm:pt modelId="{16776F8D-BADD-4FAD-8F4B-AAFD497EE069}" type="pres">
      <dgm:prSet presAssocID="{167F9DA9-3356-42B1-8067-78E6B5CECCFD}" presName="LevelTwoTextNode" presStyleLbl="node3" presStyleIdx="3" presStyleCnt="4">
        <dgm:presLayoutVars>
          <dgm:chPref val="3"/>
        </dgm:presLayoutVars>
      </dgm:prSet>
      <dgm:spPr/>
    </dgm:pt>
    <dgm:pt modelId="{93100A4C-2F0F-4E5D-8221-B5DB0D729B1E}" type="pres">
      <dgm:prSet presAssocID="{167F9DA9-3356-42B1-8067-78E6B5CECCFD}" presName="level3hierChild" presStyleCnt="0"/>
      <dgm:spPr/>
    </dgm:pt>
  </dgm:ptLst>
  <dgm:cxnLst>
    <dgm:cxn modelId="{D258C3FB-B83A-4D28-A442-B56A273E67ED}" type="presOf" srcId="{BA9EB44F-4B15-4056-8AA5-64CAC12355C9}" destId="{093E687E-CED2-48DF-93C2-47EAC890136B}" srcOrd="0" destOrd="0" presId="urn:microsoft.com/office/officeart/2005/8/layout/hierarchy2"/>
    <dgm:cxn modelId="{30F73A35-1969-434E-A854-9949E53C9B3B}" type="presOf" srcId="{B7F66D8B-3915-458C-8B16-25769917CD4F}" destId="{77B57837-FBA9-4DE3-AC20-1F11A7D354E4}" srcOrd="0" destOrd="0" presId="urn:microsoft.com/office/officeart/2005/8/layout/hierarchy2"/>
    <dgm:cxn modelId="{B68A1CE8-76E1-4949-86A9-6F385A6A7C62}" type="presOf" srcId="{5AB829E7-DF64-4E44-B89D-1A2B90DEC36D}" destId="{40FFD530-A26F-452F-AF0F-E00858568E61}" srcOrd="0" destOrd="0" presId="urn:microsoft.com/office/officeart/2005/8/layout/hierarchy2"/>
    <dgm:cxn modelId="{98A1CA75-756D-4F1D-B009-C14DEB6F60C5}" srcId="{5F67D14D-997B-4968-BB56-99B802C8741E}" destId="{60FA3272-6587-4B2D-9F56-88FCDE9ECA7B}" srcOrd="1" destOrd="0" parTransId="{D8F108DF-1AFA-4498-86AE-1D9BF41244FE}" sibTransId="{9B651749-C088-4A1D-B185-25B2EA41FCE5}"/>
    <dgm:cxn modelId="{EA447A68-8694-4668-B224-D7A031491B29}" type="presOf" srcId="{D8F108DF-1AFA-4498-86AE-1D9BF41244FE}" destId="{F7FD2AB5-361B-4060-912C-316F9A54200E}" srcOrd="0" destOrd="0" presId="urn:microsoft.com/office/officeart/2005/8/layout/hierarchy2"/>
    <dgm:cxn modelId="{189199C9-1493-44F7-9EFA-3E13AA65BF19}" type="presOf" srcId="{167F9DA9-3356-42B1-8067-78E6B5CECCFD}" destId="{16776F8D-BADD-4FAD-8F4B-AAFD497EE069}" srcOrd="0" destOrd="0" presId="urn:microsoft.com/office/officeart/2005/8/layout/hierarchy2"/>
    <dgm:cxn modelId="{C5EEDADB-91A0-4643-A71A-3E15D00A8703}" type="presOf" srcId="{25CC26DE-E7F4-44AC-9EB1-A7066A1EF6B5}" destId="{50CB24DD-E7B5-416F-9602-61404DABD41A}" srcOrd="0" destOrd="0" presId="urn:microsoft.com/office/officeart/2005/8/layout/hierarchy2"/>
    <dgm:cxn modelId="{7B361296-7DEE-40BE-9DB8-BC5CD0B18063}" type="presOf" srcId="{20A7FBE6-D5DB-4E30-AC25-4CA81DF8246B}" destId="{1CE5FDBE-4632-4495-83F7-260E492CDBA3}" srcOrd="0" destOrd="0" presId="urn:microsoft.com/office/officeart/2005/8/layout/hierarchy2"/>
    <dgm:cxn modelId="{8F924530-620B-46E5-9867-21E7474F1ECC}" type="presOf" srcId="{5AB829E7-DF64-4E44-B89D-1A2B90DEC36D}" destId="{6BF64E14-B23F-4925-A1CB-B309635C2E3F}" srcOrd="1" destOrd="0" presId="urn:microsoft.com/office/officeart/2005/8/layout/hierarchy2"/>
    <dgm:cxn modelId="{E85CEF92-0281-4524-AED4-4BBA026CC9DF}" srcId="{60FA3272-6587-4B2D-9F56-88FCDE9ECA7B}" destId="{25CC26DE-E7F4-44AC-9EB1-A7066A1EF6B5}" srcOrd="1" destOrd="0" parTransId="{667DF5D9-2650-42F3-8BDD-F983E7347A35}" sibTransId="{11FCC7D6-C99B-404F-9F11-01D17D610114}"/>
    <dgm:cxn modelId="{8A7C4582-C3D6-4116-9BD6-5D6290E475F8}" type="presOf" srcId="{27BD98FA-8846-4657-9C7A-D706CA57EFEA}" destId="{A182C9B7-2867-44BA-8C0C-D96A9EADA08F}" srcOrd="0" destOrd="0" presId="urn:microsoft.com/office/officeart/2005/8/layout/hierarchy2"/>
    <dgm:cxn modelId="{79B46747-65B8-4C3E-97B2-278474B0F2E7}" type="presOf" srcId="{094D4007-7BF8-40DB-8D4C-496EDE91635D}" destId="{B3394F2E-6EFF-4AE4-8C1D-1AA54AA52F31}" srcOrd="0" destOrd="0" presId="urn:microsoft.com/office/officeart/2005/8/layout/hierarchy2"/>
    <dgm:cxn modelId="{3DCFEEF0-34A0-4A40-868E-9B54854FF2D5}" type="presOf" srcId="{667DF5D9-2650-42F3-8BDD-F983E7347A35}" destId="{72526992-A1DE-44BB-9B14-87E2443B5149}" srcOrd="1" destOrd="0" presId="urn:microsoft.com/office/officeart/2005/8/layout/hierarchy2"/>
    <dgm:cxn modelId="{1BD47A28-3B50-4FEE-BA1F-E2E6692ADACF}" srcId="{5F67D14D-997B-4968-BB56-99B802C8741E}" destId="{3BEA6C6C-2762-4F56-AB89-60B1C190F915}" srcOrd="0" destOrd="0" parTransId="{BA9EB44F-4B15-4056-8AA5-64CAC12355C9}" sibTransId="{4CE2377F-FB0E-4F0A-897E-624B59238EF7}"/>
    <dgm:cxn modelId="{7D15313F-9749-4F50-96C0-F75BA3866DEC}" type="presOf" srcId="{BC44DB5E-2F9B-4E1D-9FA7-D55CF5FB6494}" destId="{C3FF6C36-3A9A-4C0B-BEC7-35450606D02E}" srcOrd="0" destOrd="0" presId="urn:microsoft.com/office/officeart/2005/8/layout/hierarchy2"/>
    <dgm:cxn modelId="{8C8F060F-B15D-4BCD-A369-51BD0B35E2A5}" type="presOf" srcId="{667DF5D9-2650-42F3-8BDD-F983E7347A35}" destId="{C0BE7AFB-ADFF-4C7F-8AFC-28BEC6570A45}" srcOrd="0" destOrd="0" presId="urn:microsoft.com/office/officeart/2005/8/layout/hierarchy2"/>
    <dgm:cxn modelId="{7544948F-BB03-45D7-BE6F-4DD879D5F322}" type="presOf" srcId="{5F67D14D-997B-4968-BB56-99B802C8741E}" destId="{9A3BD074-F1DA-4E83-A600-0B0706F801DF}" srcOrd="0" destOrd="0" presId="urn:microsoft.com/office/officeart/2005/8/layout/hierarchy2"/>
    <dgm:cxn modelId="{79941DA3-7C16-49F1-9194-91637E79D130}" srcId="{B7F66D8B-3915-458C-8B16-25769917CD4F}" destId="{5F67D14D-997B-4968-BB56-99B802C8741E}" srcOrd="0" destOrd="0" parTransId="{8B06975A-1179-4E74-BBE7-B7C585C638BD}" sibTransId="{577F0D5E-394F-48A1-924A-70D7513A9A61}"/>
    <dgm:cxn modelId="{58A208A4-8434-4606-82A4-5764958D78DF}" type="presOf" srcId="{0AAC3F72-AB50-429B-AACE-94F1DAB7C632}" destId="{7ACD03A5-66A7-45A0-897A-DEC258147700}" srcOrd="0" destOrd="0" presId="urn:microsoft.com/office/officeart/2005/8/layout/hierarchy2"/>
    <dgm:cxn modelId="{FF83A6CF-2B34-4710-B988-AFFA51B19EA9}" srcId="{5F67D14D-997B-4968-BB56-99B802C8741E}" destId="{27BD98FA-8846-4657-9C7A-D706CA57EFEA}" srcOrd="2" destOrd="0" parTransId="{BC44DB5E-2F9B-4E1D-9FA7-D55CF5FB6494}" sibTransId="{F6511F67-8E39-4C86-8166-A1A9FED6C9DF}"/>
    <dgm:cxn modelId="{81BD1F3B-C978-4507-8864-26D852D72B89}" type="presOf" srcId="{3BEA6C6C-2762-4F56-AB89-60B1C190F915}" destId="{936420ED-5053-4065-B448-F2B592EEE115}" srcOrd="0" destOrd="0" presId="urn:microsoft.com/office/officeart/2005/8/layout/hierarchy2"/>
    <dgm:cxn modelId="{F609A0F4-CF14-4E93-A892-F509430D2DF1}" type="presOf" srcId="{3C44242A-96B6-4FCA-95BF-1FFD0A0F869F}" destId="{EADCC50E-327A-4B9B-9CDF-249FEEE7862E}" srcOrd="1" destOrd="0" presId="urn:microsoft.com/office/officeart/2005/8/layout/hierarchy2"/>
    <dgm:cxn modelId="{D0AC698A-9F06-49BB-9D6A-48B9D1AE4AB3}" type="presOf" srcId="{3C44242A-96B6-4FCA-95BF-1FFD0A0F869F}" destId="{CD5FC485-9ECE-49CA-92C3-0A02B577AA94}" srcOrd="0" destOrd="0" presId="urn:microsoft.com/office/officeart/2005/8/layout/hierarchy2"/>
    <dgm:cxn modelId="{C8214953-DC66-47AF-AA60-FB200A462F5B}" type="presOf" srcId="{20A7FBE6-D5DB-4E30-AC25-4CA81DF8246B}" destId="{D45F4911-F719-41B7-8F66-FAF5924947C6}" srcOrd="1" destOrd="0" presId="urn:microsoft.com/office/officeart/2005/8/layout/hierarchy2"/>
    <dgm:cxn modelId="{D9428C31-23C0-4919-AECB-DA694A95FF7F}" type="presOf" srcId="{BA9EB44F-4B15-4056-8AA5-64CAC12355C9}" destId="{3A5190A8-E662-4B71-9935-4A08BABBC314}" srcOrd="1" destOrd="0" presId="urn:microsoft.com/office/officeart/2005/8/layout/hierarchy2"/>
    <dgm:cxn modelId="{B97A76DA-2CD5-4950-9EC1-824A8FA33E9C}" srcId="{60FA3272-6587-4B2D-9F56-88FCDE9ECA7B}" destId="{0AAC3F72-AB50-429B-AACE-94F1DAB7C632}" srcOrd="0" destOrd="0" parTransId="{5AB829E7-DF64-4E44-B89D-1A2B90DEC36D}" sibTransId="{263A2FB3-F93C-4B16-971E-F0CA125E7DE2}"/>
    <dgm:cxn modelId="{416D3BCF-61E5-45C2-9D5A-B747CFEDCCCB}" type="presOf" srcId="{D8F108DF-1AFA-4498-86AE-1D9BF41244FE}" destId="{15311130-2D0B-4913-8D55-E542EF022ABD}" srcOrd="1" destOrd="0" presId="urn:microsoft.com/office/officeart/2005/8/layout/hierarchy2"/>
    <dgm:cxn modelId="{ADA8C696-420A-43B3-ADD0-2B7BBC0049F6}" srcId="{3BEA6C6C-2762-4F56-AB89-60B1C190F915}" destId="{094D4007-7BF8-40DB-8D4C-496EDE91635D}" srcOrd="0" destOrd="0" parTransId="{20A7FBE6-D5DB-4E30-AC25-4CA81DF8246B}" sibTransId="{F05302F6-2648-415C-993D-292E7E424ED0}"/>
    <dgm:cxn modelId="{6DEBB0C2-6D24-49FA-B829-460BFBA781DA}" type="presOf" srcId="{BC44DB5E-2F9B-4E1D-9FA7-D55CF5FB6494}" destId="{D65345A5-964C-4FED-9516-811EEB8595EB}" srcOrd="1" destOrd="0" presId="urn:microsoft.com/office/officeart/2005/8/layout/hierarchy2"/>
    <dgm:cxn modelId="{46FC42C2-D89E-4BC7-9055-D00E365937F1}" type="presOf" srcId="{60FA3272-6587-4B2D-9F56-88FCDE9ECA7B}" destId="{FCB6F7D3-D187-40EE-9F73-548E11C6C72E}" srcOrd="0" destOrd="0" presId="urn:microsoft.com/office/officeart/2005/8/layout/hierarchy2"/>
    <dgm:cxn modelId="{7804D721-34D8-453A-B4EE-D61BD97AA772}" srcId="{27BD98FA-8846-4657-9C7A-D706CA57EFEA}" destId="{167F9DA9-3356-42B1-8067-78E6B5CECCFD}" srcOrd="0" destOrd="0" parTransId="{3C44242A-96B6-4FCA-95BF-1FFD0A0F869F}" sibTransId="{CFC92AD4-A9BB-4578-A21E-E43F7CBD0BF7}"/>
    <dgm:cxn modelId="{89820B93-FF36-4C0C-894B-A7EFAD0A5C3C}" type="presParOf" srcId="{77B57837-FBA9-4DE3-AC20-1F11A7D354E4}" destId="{64E6C8DE-85ED-446C-B9F6-99507D0B12A2}" srcOrd="0" destOrd="0" presId="urn:microsoft.com/office/officeart/2005/8/layout/hierarchy2"/>
    <dgm:cxn modelId="{69E5B501-AE12-4B22-8CC1-94F1DAE6F997}" type="presParOf" srcId="{64E6C8DE-85ED-446C-B9F6-99507D0B12A2}" destId="{9A3BD074-F1DA-4E83-A600-0B0706F801DF}" srcOrd="0" destOrd="0" presId="urn:microsoft.com/office/officeart/2005/8/layout/hierarchy2"/>
    <dgm:cxn modelId="{2FD90F73-5159-49FF-A4CE-155F7F31C564}" type="presParOf" srcId="{64E6C8DE-85ED-446C-B9F6-99507D0B12A2}" destId="{6A2D313F-95C8-44F1-B512-8311D29C0709}" srcOrd="1" destOrd="0" presId="urn:microsoft.com/office/officeart/2005/8/layout/hierarchy2"/>
    <dgm:cxn modelId="{A6891811-7149-4D93-AAF5-1BF1F40639BA}" type="presParOf" srcId="{6A2D313F-95C8-44F1-B512-8311D29C0709}" destId="{093E687E-CED2-48DF-93C2-47EAC890136B}" srcOrd="0" destOrd="0" presId="urn:microsoft.com/office/officeart/2005/8/layout/hierarchy2"/>
    <dgm:cxn modelId="{E731B004-DD9D-474A-BAD4-779956496802}" type="presParOf" srcId="{093E687E-CED2-48DF-93C2-47EAC890136B}" destId="{3A5190A8-E662-4B71-9935-4A08BABBC314}" srcOrd="0" destOrd="0" presId="urn:microsoft.com/office/officeart/2005/8/layout/hierarchy2"/>
    <dgm:cxn modelId="{7F7A0CC3-97AE-4093-91DE-0D4053BE0D82}" type="presParOf" srcId="{6A2D313F-95C8-44F1-B512-8311D29C0709}" destId="{1E535F87-7E13-4ED4-B8D8-78DC045F7A63}" srcOrd="1" destOrd="0" presId="urn:microsoft.com/office/officeart/2005/8/layout/hierarchy2"/>
    <dgm:cxn modelId="{4DB7E188-BCBD-490E-B923-7C35DD836BCD}" type="presParOf" srcId="{1E535F87-7E13-4ED4-B8D8-78DC045F7A63}" destId="{936420ED-5053-4065-B448-F2B592EEE115}" srcOrd="0" destOrd="0" presId="urn:microsoft.com/office/officeart/2005/8/layout/hierarchy2"/>
    <dgm:cxn modelId="{25F12B04-A928-4D33-95EB-7B65464AE1B7}" type="presParOf" srcId="{1E535F87-7E13-4ED4-B8D8-78DC045F7A63}" destId="{770B7982-F958-4358-803D-2FA33E5AF73F}" srcOrd="1" destOrd="0" presId="urn:microsoft.com/office/officeart/2005/8/layout/hierarchy2"/>
    <dgm:cxn modelId="{56AA611C-B74F-4716-9FAB-6C7626703703}" type="presParOf" srcId="{770B7982-F958-4358-803D-2FA33E5AF73F}" destId="{1CE5FDBE-4632-4495-83F7-260E492CDBA3}" srcOrd="0" destOrd="0" presId="urn:microsoft.com/office/officeart/2005/8/layout/hierarchy2"/>
    <dgm:cxn modelId="{0DB8D0E5-420F-46C9-93CF-0E4B662ED68F}" type="presParOf" srcId="{1CE5FDBE-4632-4495-83F7-260E492CDBA3}" destId="{D45F4911-F719-41B7-8F66-FAF5924947C6}" srcOrd="0" destOrd="0" presId="urn:microsoft.com/office/officeart/2005/8/layout/hierarchy2"/>
    <dgm:cxn modelId="{7381F991-104D-4F9D-9942-3C509C21E767}" type="presParOf" srcId="{770B7982-F958-4358-803D-2FA33E5AF73F}" destId="{506C3D35-AF4E-4A0D-87C7-B200435E895A}" srcOrd="1" destOrd="0" presId="urn:microsoft.com/office/officeart/2005/8/layout/hierarchy2"/>
    <dgm:cxn modelId="{1BE6F6C7-8939-4C69-BA95-7C6F26AA7CD0}" type="presParOf" srcId="{506C3D35-AF4E-4A0D-87C7-B200435E895A}" destId="{B3394F2E-6EFF-4AE4-8C1D-1AA54AA52F31}" srcOrd="0" destOrd="0" presId="urn:microsoft.com/office/officeart/2005/8/layout/hierarchy2"/>
    <dgm:cxn modelId="{B4A70968-D197-4995-830E-2DCD44701443}" type="presParOf" srcId="{506C3D35-AF4E-4A0D-87C7-B200435E895A}" destId="{928B52C9-7A37-41D9-BF79-A98A2A4E3BCF}" srcOrd="1" destOrd="0" presId="urn:microsoft.com/office/officeart/2005/8/layout/hierarchy2"/>
    <dgm:cxn modelId="{ED395AC1-0C73-48C8-ACB2-A56AC2BCF19D}" type="presParOf" srcId="{6A2D313F-95C8-44F1-B512-8311D29C0709}" destId="{F7FD2AB5-361B-4060-912C-316F9A54200E}" srcOrd="2" destOrd="0" presId="urn:microsoft.com/office/officeart/2005/8/layout/hierarchy2"/>
    <dgm:cxn modelId="{3E43B02E-93DD-4ABC-9324-387CA7D05935}" type="presParOf" srcId="{F7FD2AB5-361B-4060-912C-316F9A54200E}" destId="{15311130-2D0B-4913-8D55-E542EF022ABD}" srcOrd="0" destOrd="0" presId="urn:microsoft.com/office/officeart/2005/8/layout/hierarchy2"/>
    <dgm:cxn modelId="{7ED4F485-E05B-4BB0-99D5-DA9594191038}" type="presParOf" srcId="{6A2D313F-95C8-44F1-B512-8311D29C0709}" destId="{85D32BF8-9210-49B2-9EAB-1554CB35A691}" srcOrd="3" destOrd="0" presId="urn:microsoft.com/office/officeart/2005/8/layout/hierarchy2"/>
    <dgm:cxn modelId="{B61F0E76-3FE1-4EEE-95E9-BAEAB3E2D67F}" type="presParOf" srcId="{85D32BF8-9210-49B2-9EAB-1554CB35A691}" destId="{FCB6F7D3-D187-40EE-9F73-548E11C6C72E}" srcOrd="0" destOrd="0" presId="urn:microsoft.com/office/officeart/2005/8/layout/hierarchy2"/>
    <dgm:cxn modelId="{3A358D06-45C9-496E-86AE-9B9062AE5858}" type="presParOf" srcId="{85D32BF8-9210-49B2-9EAB-1554CB35A691}" destId="{5D74325E-6BA7-4B21-B2B8-9C4790B30F0E}" srcOrd="1" destOrd="0" presId="urn:microsoft.com/office/officeart/2005/8/layout/hierarchy2"/>
    <dgm:cxn modelId="{8D875081-9AFE-4E7F-A6A4-18F7663DC78B}" type="presParOf" srcId="{5D74325E-6BA7-4B21-B2B8-9C4790B30F0E}" destId="{40FFD530-A26F-452F-AF0F-E00858568E61}" srcOrd="0" destOrd="0" presId="urn:microsoft.com/office/officeart/2005/8/layout/hierarchy2"/>
    <dgm:cxn modelId="{E0C96FAD-550E-4DD8-A247-E20D89B682EE}" type="presParOf" srcId="{40FFD530-A26F-452F-AF0F-E00858568E61}" destId="{6BF64E14-B23F-4925-A1CB-B309635C2E3F}" srcOrd="0" destOrd="0" presId="urn:microsoft.com/office/officeart/2005/8/layout/hierarchy2"/>
    <dgm:cxn modelId="{D1E97DDB-B26D-44D0-8A93-6612B56B1D1D}" type="presParOf" srcId="{5D74325E-6BA7-4B21-B2B8-9C4790B30F0E}" destId="{94942C89-3285-4A31-8845-464436CF0BD6}" srcOrd="1" destOrd="0" presId="urn:microsoft.com/office/officeart/2005/8/layout/hierarchy2"/>
    <dgm:cxn modelId="{E9F276CF-94AF-4F55-9FBF-7626D10E39F8}" type="presParOf" srcId="{94942C89-3285-4A31-8845-464436CF0BD6}" destId="{7ACD03A5-66A7-45A0-897A-DEC258147700}" srcOrd="0" destOrd="0" presId="urn:microsoft.com/office/officeart/2005/8/layout/hierarchy2"/>
    <dgm:cxn modelId="{A2ED99C7-08C0-4B82-AF28-92BB9599345A}" type="presParOf" srcId="{94942C89-3285-4A31-8845-464436CF0BD6}" destId="{8630370C-5DBA-4792-AA77-85D0D694D0E4}" srcOrd="1" destOrd="0" presId="urn:microsoft.com/office/officeart/2005/8/layout/hierarchy2"/>
    <dgm:cxn modelId="{EB5F91A8-9AB7-4C10-8FD0-115571555377}" type="presParOf" srcId="{5D74325E-6BA7-4B21-B2B8-9C4790B30F0E}" destId="{C0BE7AFB-ADFF-4C7F-8AFC-28BEC6570A45}" srcOrd="2" destOrd="0" presId="urn:microsoft.com/office/officeart/2005/8/layout/hierarchy2"/>
    <dgm:cxn modelId="{CFA83C2C-6C77-42DC-8A1A-044456B566DC}" type="presParOf" srcId="{C0BE7AFB-ADFF-4C7F-8AFC-28BEC6570A45}" destId="{72526992-A1DE-44BB-9B14-87E2443B5149}" srcOrd="0" destOrd="0" presId="urn:microsoft.com/office/officeart/2005/8/layout/hierarchy2"/>
    <dgm:cxn modelId="{C5DE73B0-8930-475F-A759-1ACF8C73431A}" type="presParOf" srcId="{5D74325E-6BA7-4B21-B2B8-9C4790B30F0E}" destId="{3CBB60ED-FF9D-4155-9254-AB2131A483F7}" srcOrd="3" destOrd="0" presId="urn:microsoft.com/office/officeart/2005/8/layout/hierarchy2"/>
    <dgm:cxn modelId="{2A57CC36-4060-464B-A99B-CA160D4D0BC2}" type="presParOf" srcId="{3CBB60ED-FF9D-4155-9254-AB2131A483F7}" destId="{50CB24DD-E7B5-416F-9602-61404DABD41A}" srcOrd="0" destOrd="0" presId="urn:microsoft.com/office/officeart/2005/8/layout/hierarchy2"/>
    <dgm:cxn modelId="{D491E9AA-61DC-4C08-BBA5-92BAB0A00494}" type="presParOf" srcId="{3CBB60ED-FF9D-4155-9254-AB2131A483F7}" destId="{8A540923-F171-4313-8CD5-F06339F3BE5D}" srcOrd="1" destOrd="0" presId="urn:microsoft.com/office/officeart/2005/8/layout/hierarchy2"/>
    <dgm:cxn modelId="{3E092FFD-57FE-4CB6-A5F3-C7B2ECAB32A0}" type="presParOf" srcId="{6A2D313F-95C8-44F1-B512-8311D29C0709}" destId="{C3FF6C36-3A9A-4C0B-BEC7-35450606D02E}" srcOrd="4" destOrd="0" presId="urn:microsoft.com/office/officeart/2005/8/layout/hierarchy2"/>
    <dgm:cxn modelId="{52D171E6-C8E8-47BE-80F5-0EF7AFE805B9}" type="presParOf" srcId="{C3FF6C36-3A9A-4C0B-BEC7-35450606D02E}" destId="{D65345A5-964C-4FED-9516-811EEB8595EB}" srcOrd="0" destOrd="0" presId="urn:microsoft.com/office/officeart/2005/8/layout/hierarchy2"/>
    <dgm:cxn modelId="{F0FCDC6D-BF5A-470B-AB11-F0642D667AF1}" type="presParOf" srcId="{6A2D313F-95C8-44F1-B512-8311D29C0709}" destId="{B7BBDFF6-3BCE-43B2-BB67-CC1896E39855}" srcOrd="5" destOrd="0" presId="urn:microsoft.com/office/officeart/2005/8/layout/hierarchy2"/>
    <dgm:cxn modelId="{E29FDB83-BAFB-4588-87AB-A58FC3BA1547}" type="presParOf" srcId="{B7BBDFF6-3BCE-43B2-BB67-CC1896E39855}" destId="{A182C9B7-2867-44BA-8C0C-D96A9EADA08F}" srcOrd="0" destOrd="0" presId="urn:microsoft.com/office/officeart/2005/8/layout/hierarchy2"/>
    <dgm:cxn modelId="{F290CB40-CF25-47D3-84C4-5BD6A4CA89C0}" type="presParOf" srcId="{B7BBDFF6-3BCE-43B2-BB67-CC1896E39855}" destId="{18E824D8-8E5E-4C72-ABE4-8813C280EB10}" srcOrd="1" destOrd="0" presId="urn:microsoft.com/office/officeart/2005/8/layout/hierarchy2"/>
    <dgm:cxn modelId="{3BA43FC4-EFB7-4FB2-8CD7-9A585C3AFAFC}" type="presParOf" srcId="{18E824D8-8E5E-4C72-ABE4-8813C280EB10}" destId="{CD5FC485-9ECE-49CA-92C3-0A02B577AA94}" srcOrd="0" destOrd="0" presId="urn:microsoft.com/office/officeart/2005/8/layout/hierarchy2"/>
    <dgm:cxn modelId="{74EC1053-D787-4A13-9CBE-FAEFE2DC5512}" type="presParOf" srcId="{CD5FC485-9ECE-49CA-92C3-0A02B577AA94}" destId="{EADCC50E-327A-4B9B-9CDF-249FEEE7862E}" srcOrd="0" destOrd="0" presId="urn:microsoft.com/office/officeart/2005/8/layout/hierarchy2"/>
    <dgm:cxn modelId="{BA518B97-4B7F-486B-98AE-C3661BA175E1}" type="presParOf" srcId="{18E824D8-8E5E-4C72-ABE4-8813C280EB10}" destId="{322D5F7F-8D62-423C-BE87-F420B7CB3ADF}" srcOrd="1" destOrd="0" presId="urn:microsoft.com/office/officeart/2005/8/layout/hierarchy2"/>
    <dgm:cxn modelId="{D34A0988-936D-4D3D-BC7C-94BA885616B0}" type="presParOf" srcId="{322D5F7F-8D62-423C-BE87-F420B7CB3ADF}" destId="{16776F8D-BADD-4FAD-8F4B-AAFD497EE069}" srcOrd="0" destOrd="0" presId="urn:microsoft.com/office/officeart/2005/8/layout/hierarchy2"/>
    <dgm:cxn modelId="{20440F9B-2AB1-4B8E-B660-05FEB5A03B41}" type="presParOf" srcId="{322D5F7F-8D62-423C-BE87-F420B7CB3ADF}" destId="{93100A4C-2F0F-4E5D-8221-B5DB0D729B1E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389F9E-7DFA-4517-8884-DA031633466E}" type="doc">
      <dgm:prSet loTypeId="urn:microsoft.com/office/officeart/2005/8/layout/lProcess2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4F96A53B-4685-4CD6-AA17-A8F9001AEA6A}">
      <dgm:prSet phldrT="[Text]"/>
      <dgm:spPr/>
      <dgm:t>
        <a:bodyPr/>
        <a:lstStyle/>
        <a:p>
          <a:r>
            <a:rPr lang="en-US" dirty="0"/>
            <a:t>Performance</a:t>
          </a:r>
        </a:p>
      </dgm:t>
    </dgm:pt>
    <dgm:pt modelId="{90E72AAB-8AFF-41F5-88B5-23DECB83A6FB}" type="parTrans" cxnId="{387D9541-BDEF-4F3C-99CE-4572385F4DDB}">
      <dgm:prSet/>
      <dgm:spPr/>
      <dgm:t>
        <a:bodyPr/>
        <a:lstStyle/>
        <a:p>
          <a:endParaRPr lang="en-US"/>
        </a:p>
      </dgm:t>
    </dgm:pt>
    <dgm:pt modelId="{6FD0963A-F834-4B56-86A2-4262159A4629}" type="sibTrans" cxnId="{387D9541-BDEF-4F3C-99CE-4572385F4DDB}">
      <dgm:prSet/>
      <dgm:spPr/>
      <dgm:t>
        <a:bodyPr/>
        <a:lstStyle/>
        <a:p>
          <a:endParaRPr lang="en-US"/>
        </a:p>
      </dgm:t>
    </dgm:pt>
    <dgm:pt modelId="{6F5CC72B-C2FF-437A-A9B7-06ADD454A8A3}">
      <dgm:prSet phldrT="[Text]"/>
      <dgm:spPr/>
      <dgm:t>
        <a:bodyPr/>
        <a:lstStyle/>
        <a:p>
          <a:r>
            <a:rPr lang="en-US" dirty="0"/>
            <a:t>Application layer</a:t>
          </a:r>
        </a:p>
      </dgm:t>
    </dgm:pt>
    <dgm:pt modelId="{4F6F8D2C-4E17-4027-AF3A-57D91D40883C}" type="sibTrans" cxnId="{2314519E-A268-4D52-85AE-7AC2FCBB6C5F}">
      <dgm:prSet/>
      <dgm:spPr/>
      <dgm:t>
        <a:bodyPr/>
        <a:lstStyle/>
        <a:p>
          <a:endParaRPr lang="en-US"/>
        </a:p>
      </dgm:t>
    </dgm:pt>
    <dgm:pt modelId="{1971A31B-8AC7-4935-A48D-95A8306BB76D}" type="parTrans" cxnId="{2314519E-A268-4D52-85AE-7AC2FCBB6C5F}">
      <dgm:prSet/>
      <dgm:spPr/>
      <dgm:t>
        <a:bodyPr/>
        <a:lstStyle/>
        <a:p>
          <a:endParaRPr lang="en-US"/>
        </a:p>
      </dgm:t>
    </dgm:pt>
    <dgm:pt modelId="{B1A8E891-AD79-4DCB-8FE9-DCFF953B7481}">
      <dgm:prSet phldrT="[Text]"/>
      <dgm:spPr/>
      <dgm:t>
        <a:bodyPr/>
        <a:lstStyle/>
        <a:p>
          <a:r>
            <a:rPr lang="en-US" dirty="0"/>
            <a:t>Security</a:t>
          </a:r>
        </a:p>
      </dgm:t>
    </dgm:pt>
    <dgm:pt modelId="{23D13003-352D-4E91-A61F-D792871B8BA1}" type="sibTrans" cxnId="{0282F281-31CA-4B6C-A81F-26A8C280B868}">
      <dgm:prSet/>
      <dgm:spPr/>
      <dgm:t>
        <a:bodyPr/>
        <a:lstStyle/>
        <a:p>
          <a:endParaRPr lang="en-US"/>
        </a:p>
      </dgm:t>
    </dgm:pt>
    <dgm:pt modelId="{CBDD7684-3FE1-4B9D-90CA-D408DA38C170}" type="parTrans" cxnId="{0282F281-31CA-4B6C-A81F-26A8C280B868}">
      <dgm:prSet/>
      <dgm:spPr/>
      <dgm:t>
        <a:bodyPr/>
        <a:lstStyle/>
        <a:p>
          <a:endParaRPr lang="en-US"/>
        </a:p>
      </dgm:t>
    </dgm:pt>
    <dgm:pt modelId="{3B87B95A-AA55-4F7A-BF96-721607B3035E}">
      <dgm:prSet phldrT="[Text]"/>
      <dgm:spPr/>
      <dgm:t>
        <a:bodyPr/>
        <a:lstStyle/>
        <a:p>
          <a:r>
            <a:rPr lang="en-US" dirty="0"/>
            <a:t>Load</a:t>
          </a:r>
        </a:p>
      </dgm:t>
    </dgm:pt>
    <dgm:pt modelId="{90B288A3-DFAC-41D1-934E-B87580457B9C}" type="sibTrans" cxnId="{E9A2DDF5-D7BC-4355-B0DF-0BEB54021226}">
      <dgm:prSet/>
      <dgm:spPr/>
      <dgm:t>
        <a:bodyPr/>
        <a:lstStyle/>
        <a:p>
          <a:endParaRPr lang="en-US"/>
        </a:p>
      </dgm:t>
    </dgm:pt>
    <dgm:pt modelId="{F23E1082-08EE-4C75-AAEA-FBD7382BFF55}" type="parTrans" cxnId="{E9A2DDF5-D7BC-4355-B0DF-0BEB54021226}">
      <dgm:prSet/>
      <dgm:spPr/>
      <dgm:t>
        <a:bodyPr/>
        <a:lstStyle/>
        <a:p>
          <a:endParaRPr lang="en-US"/>
        </a:p>
      </dgm:t>
    </dgm:pt>
    <dgm:pt modelId="{2657F7F4-A687-4CD5-B1E5-02D8EC6D2694}">
      <dgm:prSet phldrT="[Text]"/>
      <dgm:spPr/>
      <dgm:t>
        <a:bodyPr/>
        <a:lstStyle/>
        <a:p>
          <a:r>
            <a:rPr lang="en-US" dirty="0"/>
            <a:t>Endurance</a:t>
          </a:r>
        </a:p>
      </dgm:t>
    </dgm:pt>
    <dgm:pt modelId="{E97707AF-3359-4445-B223-67A16810151E}" type="parTrans" cxnId="{CAD48884-1CA4-4D3C-86E1-A78934E02C5C}">
      <dgm:prSet/>
      <dgm:spPr/>
      <dgm:t>
        <a:bodyPr/>
        <a:lstStyle/>
        <a:p>
          <a:endParaRPr lang="en-US"/>
        </a:p>
      </dgm:t>
    </dgm:pt>
    <dgm:pt modelId="{80024599-FA0A-46B5-AC78-8B5588194A00}" type="sibTrans" cxnId="{CAD48884-1CA4-4D3C-86E1-A78934E02C5C}">
      <dgm:prSet/>
      <dgm:spPr/>
      <dgm:t>
        <a:bodyPr/>
        <a:lstStyle/>
        <a:p>
          <a:endParaRPr lang="en-US"/>
        </a:p>
      </dgm:t>
    </dgm:pt>
    <dgm:pt modelId="{BBD0883C-2C0B-4B53-AB71-7885AA27342E}">
      <dgm:prSet/>
      <dgm:spPr/>
      <dgm:t>
        <a:bodyPr/>
        <a:lstStyle/>
        <a:p>
          <a:r>
            <a:rPr lang="en-US" dirty="0"/>
            <a:t>Stress</a:t>
          </a:r>
        </a:p>
      </dgm:t>
    </dgm:pt>
    <dgm:pt modelId="{A7C84EE9-0632-4F64-8639-5C06C8F6060D}" type="parTrans" cxnId="{705F8749-ACAD-4D87-8F53-C751A4309DC1}">
      <dgm:prSet/>
      <dgm:spPr/>
      <dgm:t>
        <a:bodyPr/>
        <a:lstStyle/>
        <a:p>
          <a:endParaRPr lang="en-US"/>
        </a:p>
      </dgm:t>
    </dgm:pt>
    <dgm:pt modelId="{085681B2-E7A6-416D-85A1-7F64DFCEE6DE}" type="sibTrans" cxnId="{705F8749-ACAD-4D87-8F53-C751A4309DC1}">
      <dgm:prSet/>
      <dgm:spPr/>
      <dgm:t>
        <a:bodyPr/>
        <a:lstStyle/>
        <a:p>
          <a:endParaRPr lang="en-US"/>
        </a:p>
      </dgm:t>
    </dgm:pt>
    <dgm:pt modelId="{C43A9C90-CB3C-4182-9B3E-8A6F37479209}">
      <dgm:prSet/>
      <dgm:spPr/>
      <dgm:t>
        <a:bodyPr/>
        <a:lstStyle/>
        <a:p>
          <a:r>
            <a:rPr lang="en-US" dirty="0"/>
            <a:t>Spike</a:t>
          </a:r>
        </a:p>
      </dgm:t>
    </dgm:pt>
    <dgm:pt modelId="{088244E1-2D6B-4291-B05C-31F30E2CF0AA}" type="parTrans" cxnId="{82885A7D-F955-4746-941F-4E52808C4B64}">
      <dgm:prSet/>
      <dgm:spPr/>
      <dgm:t>
        <a:bodyPr/>
        <a:lstStyle/>
        <a:p>
          <a:endParaRPr lang="en-US"/>
        </a:p>
      </dgm:t>
    </dgm:pt>
    <dgm:pt modelId="{4CB05A12-4A69-4E91-8869-A75A108558B6}" type="sibTrans" cxnId="{82885A7D-F955-4746-941F-4E52808C4B64}">
      <dgm:prSet/>
      <dgm:spPr/>
      <dgm:t>
        <a:bodyPr/>
        <a:lstStyle/>
        <a:p>
          <a:endParaRPr lang="en-US"/>
        </a:p>
      </dgm:t>
    </dgm:pt>
    <dgm:pt modelId="{7EF68BD3-9859-4D85-ADB8-35BF64F4BBCE}">
      <dgm:prSet/>
      <dgm:spPr/>
      <dgm:t>
        <a:bodyPr/>
        <a:lstStyle/>
        <a:p>
          <a:r>
            <a:rPr lang="en-US" dirty="0"/>
            <a:t>Network layer</a:t>
          </a:r>
        </a:p>
      </dgm:t>
    </dgm:pt>
    <dgm:pt modelId="{DC990318-BD2E-40D2-BCF4-E6ED33F9B6B6}" type="parTrans" cxnId="{00AD4443-57F4-417F-9684-14E48977C013}">
      <dgm:prSet/>
      <dgm:spPr/>
      <dgm:t>
        <a:bodyPr/>
        <a:lstStyle/>
        <a:p>
          <a:endParaRPr lang="en-US"/>
        </a:p>
      </dgm:t>
    </dgm:pt>
    <dgm:pt modelId="{286A0E51-8D19-40B0-9C6D-8817B37552DE}" type="sibTrans" cxnId="{00AD4443-57F4-417F-9684-14E48977C013}">
      <dgm:prSet/>
      <dgm:spPr/>
      <dgm:t>
        <a:bodyPr/>
        <a:lstStyle/>
        <a:p>
          <a:endParaRPr lang="en-US"/>
        </a:p>
      </dgm:t>
    </dgm:pt>
    <dgm:pt modelId="{B3597F74-B2EE-43FA-ACCF-3BEA19D43E5D}">
      <dgm:prSet/>
      <dgm:spPr/>
      <dgm:t>
        <a:bodyPr/>
        <a:lstStyle/>
        <a:p>
          <a:r>
            <a:rPr lang="en-US" dirty="0"/>
            <a:t>Wireless</a:t>
          </a:r>
        </a:p>
      </dgm:t>
    </dgm:pt>
    <dgm:pt modelId="{8D18D3D3-1962-4E01-A7CB-6713337D1030}" type="parTrans" cxnId="{8CC7E83D-415E-414D-9F35-26C0CD52ADB8}">
      <dgm:prSet/>
      <dgm:spPr/>
      <dgm:t>
        <a:bodyPr/>
        <a:lstStyle/>
        <a:p>
          <a:endParaRPr lang="en-US"/>
        </a:p>
      </dgm:t>
    </dgm:pt>
    <dgm:pt modelId="{5EF7BCA7-08F2-4733-8A49-95801167A7E3}" type="sibTrans" cxnId="{8CC7E83D-415E-414D-9F35-26C0CD52ADB8}">
      <dgm:prSet/>
      <dgm:spPr/>
      <dgm:t>
        <a:bodyPr/>
        <a:lstStyle/>
        <a:p>
          <a:endParaRPr lang="en-US"/>
        </a:p>
      </dgm:t>
    </dgm:pt>
    <dgm:pt modelId="{E94CDED8-A888-4550-ADAD-66E1C13C00DE}">
      <dgm:prSet/>
      <dgm:spPr/>
      <dgm:t>
        <a:bodyPr/>
        <a:lstStyle/>
        <a:p>
          <a:r>
            <a:rPr lang="en-US" dirty="0"/>
            <a:t>PCI DSS</a:t>
          </a:r>
        </a:p>
      </dgm:t>
    </dgm:pt>
    <dgm:pt modelId="{687E5D50-7FAE-4F90-B3F3-28C5055D89F2}" type="parTrans" cxnId="{9AAB858A-9215-4EBF-BC65-CD33A8EF802A}">
      <dgm:prSet/>
      <dgm:spPr/>
      <dgm:t>
        <a:bodyPr/>
        <a:lstStyle/>
        <a:p>
          <a:endParaRPr lang="en-US"/>
        </a:p>
      </dgm:t>
    </dgm:pt>
    <dgm:pt modelId="{F9B7084F-5715-4116-9D81-ED5C2BE7E584}" type="sibTrans" cxnId="{9AAB858A-9215-4EBF-BC65-CD33A8EF802A}">
      <dgm:prSet/>
      <dgm:spPr/>
      <dgm:t>
        <a:bodyPr/>
        <a:lstStyle/>
        <a:p>
          <a:endParaRPr lang="en-US"/>
        </a:p>
      </dgm:t>
    </dgm:pt>
    <dgm:pt modelId="{6CFCBE1C-CFAB-44F9-BF8F-FEC37ED9C12D}">
      <dgm:prSet phldrT="[Text]"/>
      <dgm:spPr/>
      <dgm:t>
        <a:bodyPr/>
        <a:lstStyle/>
        <a:p>
          <a:r>
            <a:rPr lang="en-US" dirty="0"/>
            <a:t>Reliability</a:t>
          </a:r>
        </a:p>
      </dgm:t>
    </dgm:pt>
    <dgm:pt modelId="{035AB817-FEFE-4E12-9022-4B128E97DD98}" type="parTrans" cxnId="{1F9B29BB-4242-4EA6-9FE7-42E4DE7224EA}">
      <dgm:prSet/>
      <dgm:spPr/>
      <dgm:t>
        <a:bodyPr/>
        <a:lstStyle/>
        <a:p>
          <a:endParaRPr lang="en-US"/>
        </a:p>
      </dgm:t>
    </dgm:pt>
    <dgm:pt modelId="{ED1AF7D7-D24A-44AC-8F45-A52889D6A233}" type="sibTrans" cxnId="{1F9B29BB-4242-4EA6-9FE7-42E4DE7224EA}">
      <dgm:prSet/>
      <dgm:spPr/>
      <dgm:t>
        <a:bodyPr/>
        <a:lstStyle/>
        <a:p>
          <a:endParaRPr lang="en-US"/>
        </a:p>
      </dgm:t>
    </dgm:pt>
    <dgm:pt modelId="{6E269DDF-6014-4442-BC49-955E00F0225D}">
      <dgm:prSet phldrT="[Text]"/>
      <dgm:spPr/>
      <dgm:t>
        <a:bodyPr/>
        <a:lstStyle/>
        <a:p>
          <a:r>
            <a:rPr lang="en-US" dirty="0"/>
            <a:t>Failover</a:t>
          </a:r>
        </a:p>
      </dgm:t>
    </dgm:pt>
    <dgm:pt modelId="{EA3DE303-8B9A-4B00-BD4A-5C24697F99D4}" type="parTrans" cxnId="{3FC30075-C07B-497A-A697-B380357A6EC1}">
      <dgm:prSet/>
      <dgm:spPr/>
      <dgm:t>
        <a:bodyPr/>
        <a:lstStyle/>
        <a:p>
          <a:endParaRPr lang="en-US"/>
        </a:p>
      </dgm:t>
    </dgm:pt>
    <dgm:pt modelId="{46D507A2-C178-4A8F-A1F0-BF2BAEB1E767}" type="sibTrans" cxnId="{3FC30075-C07B-497A-A697-B380357A6EC1}">
      <dgm:prSet/>
      <dgm:spPr/>
      <dgm:t>
        <a:bodyPr/>
        <a:lstStyle/>
        <a:p>
          <a:endParaRPr lang="en-US"/>
        </a:p>
      </dgm:t>
    </dgm:pt>
    <dgm:pt modelId="{5E45E65F-B5F9-41C5-94EB-CB11E196267D}">
      <dgm:prSet phldrT="[Text]"/>
      <dgm:spPr/>
      <dgm:t>
        <a:bodyPr/>
        <a:lstStyle/>
        <a:p>
          <a:r>
            <a:rPr lang="en-GB" dirty="0"/>
            <a:t>Interruption</a:t>
          </a:r>
          <a:endParaRPr lang="en-US" dirty="0"/>
        </a:p>
      </dgm:t>
    </dgm:pt>
    <dgm:pt modelId="{6BE409A0-5DD9-41D8-B40A-B71F7BCC6227}" type="parTrans" cxnId="{94AF92F0-D77C-4521-9F12-1B3DA7EDF39D}">
      <dgm:prSet/>
      <dgm:spPr/>
      <dgm:t>
        <a:bodyPr/>
        <a:lstStyle/>
        <a:p>
          <a:endParaRPr lang="en-US"/>
        </a:p>
      </dgm:t>
    </dgm:pt>
    <dgm:pt modelId="{30F36435-D006-4854-849B-B45A32B8405B}" type="sibTrans" cxnId="{94AF92F0-D77C-4521-9F12-1B3DA7EDF39D}">
      <dgm:prSet/>
      <dgm:spPr/>
      <dgm:t>
        <a:bodyPr/>
        <a:lstStyle/>
        <a:p>
          <a:endParaRPr lang="en-US"/>
        </a:p>
      </dgm:t>
    </dgm:pt>
    <dgm:pt modelId="{43DE2FBE-52C0-4104-BE5C-9C59EB7DDC4C}">
      <dgm:prSet phldrT="[Text]"/>
      <dgm:spPr/>
      <dgm:t>
        <a:bodyPr/>
        <a:lstStyle/>
        <a:p>
          <a:r>
            <a:rPr lang="en-GB"/>
            <a:t>Recoverability</a:t>
          </a:r>
          <a:endParaRPr lang="en-US" dirty="0"/>
        </a:p>
      </dgm:t>
    </dgm:pt>
    <dgm:pt modelId="{85B8D682-3043-4D30-9664-4A314911445F}" type="parTrans" cxnId="{A220B47E-C962-4508-B151-3AACF5329493}">
      <dgm:prSet/>
      <dgm:spPr/>
      <dgm:t>
        <a:bodyPr/>
        <a:lstStyle/>
        <a:p>
          <a:endParaRPr lang="en-US"/>
        </a:p>
      </dgm:t>
    </dgm:pt>
    <dgm:pt modelId="{03030540-CD61-46A7-9036-B11B02D5B605}" type="sibTrans" cxnId="{A220B47E-C962-4508-B151-3AACF5329493}">
      <dgm:prSet/>
      <dgm:spPr/>
      <dgm:t>
        <a:bodyPr/>
        <a:lstStyle/>
        <a:p>
          <a:endParaRPr lang="en-US"/>
        </a:p>
      </dgm:t>
    </dgm:pt>
    <dgm:pt modelId="{61B28DA0-C7AB-49B3-B4AA-9486CE722CCE}">
      <dgm:prSet phldrT="[Text]"/>
      <dgm:spPr/>
      <dgm:t>
        <a:bodyPr/>
        <a:lstStyle/>
        <a:p>
          <a:r>
            <a:rPr lang="en-GB"/>
            <a:t>Load balancing</a:t>
          </a:r>
          <a:endParaRPr lang="en-US" dirty="0"/>
        </a:p>
      </dgm:t>
    </dgm:pt>
    <dgm:pt modelId="{50C62E2F-9C06-452B-AB1A-3B4876CB2FEC}" type="parTrans" cxnId="{A2629811-22F2-4182-AD3B-39303BE42239}">
      <dgm:prSet/>
      <dgm:spPr/>
      <dgm:t>
        <a:bodyPr/>
        <a:lstStyle/>
        <a:p>
          <a:endParaRPr lang="en-US"/>
        </a:p>
      </dgm:t>
    </dgm:pt>
    <dgm:pt modelId="{B5CC21AE-15FC-471D-B207-567C6D94A391}" type="sibTrans" cxnId="{A2629811-22F2-4182-AD3B-39303BE42239}">
      <dgm:prSet/>
      <dgm:spPr/>
      <dgm:t>
        <a:bodyPr/>
        <a:lstStyle/>
        <a:p>
          <a:endParaRPr lang="en-US"/>
        </a:p>
      </dgm:t>
    </dgm:pt>
    <dgm:pt modelId="{294B059F-F34E-41EC-AECA-8CBABFA00805}">
      <dgm:prSet phldrT="[Text]"/>
      <dgm:spPr/>
      <dgm:t>
        <a:bodyPr/>
        <a:lstStyle/>
        <a:p>
          <a:r>
            <a:rPr lang="en-US" dirty="0"/>
            <a:t>Front-end</a:t>
          </a:r>
        </a:p>
      </dgm:t>
    </dgm:pt>
    <dgm:pt modelId="{F0C400CC-917F-45DB-BA50-174AC7BE7767}" type="parTrans" cxnId="{3AF86980-53FC-4C75-862D-B9061FA88971}">
      <dgm:prSet/>
      <dgm:spPr/>
      <dgm:t>
        <a:bodyPr/>
        <a:lstStyle/>
        <a:p>
          <a:endParaRPr lang="en-US"/>
        </a:p>
      </dgm:t>
    </dgm:pt>
    <dgm:pt modelId="{081C146B-1A9F-4FFF-B359-7A3E9A0A2FD6}" type="sibTrans" cxnId="{3AF86980-53FC-4C75-862D-B9061FA88971}">
      <dgm:prSet/>
      <dgm:spPr/>
      <dgm:t>
        <a:bodyPr/>
        <a:lstStyle/>
        <a:p>
          <a:endParaRPr lang="en-US"/>
        </a:p>
      </dgm:t>
    </dgm:pt>
    <dgm:pt modelId="{9AFA570C-E937-487F-B245-3F70128655DD}" type="pres">
      <dgm:prSet presAssocID="{28389F9E-7DFA-4517-8884-DA031633466E}" presName="theList" presStyleCnt="0">
        <dgm:presLayoutVars>
          <dgm:dir/>
          <dgm:animLvl val="lvl"/>
          <dgm:resizeHandles val="exact"/>
        </dgm:presLayoutVars>
      </dgm:prSet>
      <dgm:spPr/>
    </dgm:pt>
    <dgm:pt modelId="{A856383C-12E1-43C8-851F-915A5C829057}" type="pres">
      <dgm:prSet presAssocID="{4F96A53B-4685-4CD6-AA17-A8F9001AEA6A}" presName="compNode" presStyleCnt="0"/>
      <dgm:spPr/>
    </dgm:pt>
    <dgm:pt modelId="{CDC6B58C-3710-4AE3-8C2C-FD16F3498EFB}" type="pres">
      <dgm:prSet presAssocID="{4F96A53B-4685-4CD6-AA17-A8F9001AEA6A}" presName="aNode" presStyleLbl="bgShp" presStyleIdx="0" presStyleCnt="3"/>
      <dgm:spPr/>
    </dgm:pt>
    <dgm:pt modelId="{4ACBC91C-49AE-47D9-AE28-CE1A799942A2}" type="pres">
      <dgm:prSet presAssocID="{4F96A53B-4685-4CD6-AA17-A8F9001AEA6A}" presName="textNode" presStyleLbl="bgShp" presStyleIdx="0" presStyleCnt="3"/>
      <dgm:spPr/>
    </dgm:pt>
    <dgm:pt modelId="{E75E06C2-BAB7-48B6-9806-B0E3A95D8276}" type="pres">
      <dgm:prSet presAssocID="{4F96A53B-4685-4CD6-AA17-A8F9001AEA6A}" presName="compChildNode" presStyleCnt="0"/>
      <dgm:spPr/>
    </dgm:pt>
    <dgm:pt modelId="{793338E7-5EA3-4FD9-9DDF-84D127C16DC1}" type="pres">
      <dgm:prSet presAssocID="{4F96A53B-4685-4CD6-AA17-A8F9001AEA6A}" presName="theInnerList" presStyleCnt="0"/>
      <dgm:spPr/>
    </dgm:pt>
    <dgm:pt modelId="{47C25420-8EBA-4AF9-AF1F-F81C59C6BCC3}" type="pres">
      <dgm:prSet presAssocID="{294B059F-F34E-41EC-AECA-8CBABFA00805}" presName="childNode" presStyleLbl="node1" presStyleIdx="0" presStyleCnt="13">
        <dgm:presLayoutVars>
          <dgm:bulletEnabled val="1"/>
        </dgm:presLayoutVars>
      </dgm:prSet>
      <dgm:spPr/>
    </dgm:pt>
    <dgm:pt modelId="{079E5723-FF34-4577-A338-7108F3017E36}" type="pres">
      <dgm:prSet presAssocID="{294B059F-F34E-41EC-AECA-8CBABFA00805}" presName="aSpace2" presStyleCnt="0"/>
      <dgm:spPr/>
    </dgm:pt>
    <dgm:pt modelId="{3653B4AF-25DD-4FD6-BF11-B9FBA02CF1C5}" type="pres">
      <dgm:prSet presAssocID="{3B87B95A-AA55-4F7A-BF96-721607B3035E}" presName="childNode" presStyleLbl="node1" presStyleIdx="1" presStyleCnt="13">
        <dgm:presLayoutVars>
          <dgm:bulletEnabled val="1"/>
        </dgm:presLayoutVars>
      </dgm:prSet>
      <dgm:spPr/>
    </dgm:pt>
    <dgm:pt modelId="{038DFF1C-87C9-4E83-AB86-35C8BE3E9823}" type="pres">
      <dgm:prSet presAssocID="{3B87B95A-AA55-4F7A-BF96-721607B3035E}" presName="aSpace2" presStyleCnt="0"/>
      <dgm:spPr/>
    </dgm:pt>
    <dgm:pt modelId="{EA205839-FDEC-4749-86CF-5B0FCF16BA27}" type="pres">
      <dgm:prSet presAssocID="{2657F7F4-A687-4CD5-B1E5-02D8EC6D2694}" presName="childNode" presStyleLbl="node1" presStyleIdx="2" presStyleCnt="13">
        <dgm:presLayoutVars>
          <dgm:bulletEnabled val="1"/>
        </dgm:presLayoutVars>
      </dgm:prSet>
      <dgm:spPr/>
    </dgm:pt>
    <dgm:pt modelId="{98359492-B9E9-47D0-BF3F-391C4A1349FC}" type="pres">
      <dgm:prSet presAssocID="{2657F7F4-A687-4CD5-B1E5-02D8EC6D2694}" presName="aSpace2" presStyleCnt="0"/>
      <dgm:spPr/>
    </dgm:pt>
    <dgm:pt modelId="{80A98F77-4DC6-4AFD-A471-53ED5590135B}" type="pres">
      <dgm:prSet presAssocID="{BBD0883C-2C0B-4B53-AB71-7885AA27342E}" presName="childNode" presStyleLbl="node1" presStyleIdx="3" presStyleCnt="13">
        <dgm:presLayoutVars>
          <dgm:bulletEnabled val="1"/>
        </dgm:presLayoutVars>
      </dgm:prSet>
      <dgm:spPr/>
    </dgm:pt>
    <dgm:pt modelId="{50E8CA0B-C189-42FE-97CF-F74EA275CE2B}" type="pres">
      <dgm:prSet presAssocID="{BBD0883C-2C0B-4B53-AB71-7885AA27342E}" presName="aSpace2" presStyleCnt="0"/>
      <dgm:spPr/>
    </dgm:pt>
    <dgm:pt modelId="{82736933-D101-4418-BC42-18054EFCD8A3}" type="pres">
      <dgm:prSet presAssocID="{C43A9C90-CB3C-4182-9B3E-8A6F37479209}" presName="childNode" presStyleLbl="node1" presStyleIdx="4" presStyleCnt="13">
        <dgm:presLayoutVars>
          <dgm:bulletEnabled val="1"/>
        </dgm:presLayoutVars>
      </dgm:prSet>
      <dgm:spPr/>
    </dgm:pt>
    <dgm:pt modelId="{8EF189CE-715D-41FD-9FA4-B5A8D80E30AE}" type="pres">
      <dgm:prSet presAssocID="{4F96A53B-4685-4CD6-AA17-A8F9001AEA6A}" presName="aSpace" presStyleCnt="0"/>
      <dgm:spPr/>
    </dgm:pt>
    <dgm:pt modelId="{23E57665-2AB8-40BF-972E-94E7AFFAC00E}" type="pres">
      <dgm:prSet presAssocID="{6CFCBE1C-CFAB-44F9-BF8F-FEC37ED9C12D}" presName="compNode" presStyleCnt="0"/>
      <dgm:spPr/>
    </dgm:pt>
    <dgm:pt modelId="{EC9D7D22-8B8A-44F3-8AB5-ED713D558AB4}" type="pres">
      <dgm:prSet presAssocID="{6CFCBE1C-CFAB-44F9-BF8F-FEC37ED9C12D}" presName="aNode" presStyleLbl="bgShp" presStyleIdx="1" presStyleCnt="3"/>
      <dgm:spPr/>
    </dgm:pt>
    <dgm:pt modelId="{ED55298B-F16D-4C29-B500-836768FBD853}" type="pres">
      <dgm:prSet presAssocID="{6CFCBE1C-CFAB-44F9-BF8F-FEC37ED9C12D}" presName="textNode" presStyleLbl="bgShp" presStyleIdx="1" presStyleCnt="3"/>
      <dgm:spPr/>
    </dgm:pt>
    <dgm:pt modelId="{70CD465F-F955-47C9-B51F-1A16E01AE26C}" type="pres">
      <dgm:prSet presAssocID="{6CFCBE1C-CFAB-44F9-BF8F-FEC37ED9C12D}" presName="compChildNode" presStyleCnt="0"/>
      <dgm:spPr/>
    </dgm:pt>
    <dgm:pt modelId="{E68487AE-0018-4A03-8CFE-ABF07FEC4242}" type="pres">
      <dgm:prSet presAssocID="{6CFCBE1C-CFAB-44F9-BF8F-FEC37ED9C12D}" presName="theInnerList" presStyleCnt="0"/>
      <dgm:spPr/>
    </dgm:pt>
    <dgm:pt modelId="{AFC79A4E-62B9-408C-A604-A7B3B8B1D63C}" type="pres">
      <dgm:prSet presAssocID="{6E269DDF-6014-4442-BC49-955E00F0225D}" presName="childNode" presStyleLbl="node1" presStyleIdx="5" presStyleCnt="13">
        <dgm:presLayoutVars>
          <dgm:bulletEnabled val="1"/>
        </dgm:presLayoutVars>
      </dgm:prSet>
      <dgm:spPr/>
    </dgm:pt>
    <dgm:pt modelId="{D988E634-8BB7-4B5A-97BB-741EC42F2A20}" type="pres">
      <dgm:prSet presAssocID="{6E269DDF-6014-4442-BC49-955E00F0225D}" presName="aSpace2" presStyleCnt="0"/>
      <dgm:spPr/>
    </dgm:pt>
    <dgm:pt modelId="{5D8D98A1-3898-47C5-85DB-543452396AA1}" type="pres">
      <dgm:prSet presAssocID="{5E45E65F-B5F9-41C5-94EB-CB11E196267D}" presName="childNode" presStyleLbl="node1" presStyleIdx="6" presStyleCnt="13">
        <dgm:presLayoutVars>
          <dgm:bulletEnabled val="1"/>
        </dgm:presLayoutVars>
      </dgm:prSet>
      <dgm:spPr/>
    </dgm:pt>
    <dgm:pt modelId="{1D796039-6936-482A-A150-4BCC145E02C4}" type="pres">
      <dgm:prSet presAssocID="{5E45E65F-B5F9-41C5-94EB-CB11E196267D}" presName="aSpace2" presStyleCnt="0"/>
      <dgm:spPr/>
    </dgm:pt>
    <dgm:pt modelId="{E695D911-26E1-4E9C-9CAC-B3FB519F0D87}" type="pres">
      <dgm:prSet presAssocID="{43DE2FBE-52C0-4104-BE5C-9C59EB7DDC4C}" presName="childNode" presStyleLbl="node1" presStyleIdx="7" presStyleCnt="13">
        <dgm:presLayoutVars>
          <dgm:bulletEnabled val="1"/>
        </dgm:presLayoutVars>
      </dgm:prSet>
      <dgm:spPr/>
    </dgm:pt>
    <dgm:pt modelId="{08A26C6D-DF42-40A0-B97E-2486EB117D3C}" type="pres">
      <dgm:prSet presAssocID="{43DE2FBE-52C0-4104-BE5C-9C59EB7DDC4C}" presName="aSpace2" presStyleCnt="0"/>
      <dgm:spPr/>
    </dgm:pt>
    <dgm:pt modelId="{70A1ABAE-B933-46AA-A112-3F923668F3AF}" type="pres">
      <dgm:prSet presAssocID="{61B28DA0-C7AB-49B3-B4AA-9486CE722CCE}" presName="childNode" presStyleLbl="node1" presStyleIdx="8" presStyleCnt="13">
        <dgm:presLayoutVars>
          <dgm:bulletEnabled val="1"/>
        </dgm:presLayoutVars>
      </dgm:prSet>
      <dgm:spPr/>
    </dgm:pt>
    <dgm:pt modelId="{05EFC3CF-E921-4E26-8B96-9DEC05660B86}" type="pres">
      <dgm:prSet presAssocID="{6CFCBE1C-CFAB-44F9-BF8F-FEC37ED9C12D}" presName="aSpace" presStyleCnt="0"/>
      <dgm:spPr/>
    </dgm:pt>
    <dgm:pt modelId="{442C9CE7-2774-4215-B898-968E0250250E}" type="pres">
      <dgm:prSet presAssocID="{B1A8E891-AD79-4DCB-8FE9-DCFF953B7481}" presName="compNode" presStyleCnt="0"/>
      <dgm:spPr/>
    </dgm:pt>
    <dgm:pt modelId="{E4ED622B-E0D2-4A00-82DF-CDC604181BD0}" type="pres">
      <dgm:prSet presAssocID="{B1A8E891-AD79-4DCB-8FE9-DCFF953B7481}" presName="aNode" presStyleLbl="bgShp" presStyleIdx="2" presStyleCnt="3"/>
      <dgm:spPr/>
    </dgm:pt>
    <dgm:pt modelId="{D274C9F7-A5FA-42EB-BC2E-06D09756D863}" type="pres">
      <dgm:prSet presAssocID="{B1A8E891-AD79-4DCB-8FE9-DCFF953B7481}" presName="textNode" presStyleLbl="bgShp" presStyleIdx="2" presStyleCnt="3"/>
      <dgm:spPr/>
    </dgm:pt>
    <dgm:pt modelId="{6C582C08-D0DD-4479-8194-9218C9772EA9}" type="pres">
      <dgm:prSet presAssocID="{B1A8E891-AD79-4DCB-8FE9-DCFF953B7481}" presName="compChildNode" presStyleCnt="0"/>
      <dgm:spPr/>
    </dgm:pt>
    <dgm:pt modelId="{83405B14-830B-4A6C-A603-24297C1639E6}" type="pres">
      <dgm:prSet presAssocID="{B1A8E891-AD79-4DCB-8FE9-DCFF953B7481}" presName="theInnerList" presStyleCnt="0"/>
      <dgm:spPr/>
    </dgm:pt>
    <dgm:pt modelId="{ACB3DFCF-00BF-4285-A982-C2A0CA69C802}" type="pres">
      <dgm:prSet presAssocID="{6F5CC72B-C2FF-437A-A9B7-06ADD454A8A3}" presName="childNode" presStyleLbl="node1" presStyleIdx="9" presStyleCnt="13">
        <dgm:presLayoutVars>
          <dgm:bulletEnabled val="1"/>
        </dgm:presLayoutVars>
      </dgm:prSet>
      <dgm:spPr/>
    </dgm:pt>
    <dgm:pt modelId="{D4A1D4A3-FD49-4AB6-BE2C-2BA246FC230C}" type="pres">
      <dgm:prSet presAssocID="{6F5CC72B-C2FF-437A-A9B7-06ADD454A8A3}" presName="aSpace2" presStyleCnt="0"/>
      <dgm:spPr/>
    </dgm:pt>
    <dgm:pt modelId="{1DFC23C6-C15A-48BD-9BC8-58292610BB1C}" type="pres">
      <dgm:prSet presAssocID="{7EF68BD3-9859-4D85-ADB8-35BF64F4BBCE}" presName="childNode" presStyleLbl="node1" presStyleIdx="10" presStyleCnt="13">
        <dgm:presLayoutVars>
          <dgm:bulletEnabled val="1"/>
        </dgm:presLayoutVars>
      </dgm:prSet>
      <dgm:spPr/>
    </dgm:pt>
    <dgm:pt modelId="{6531767E-1304-40C2-AA4D-03095342C266}" type="pres">
      <dgm:prSet presAssocID="{7EF68BD3-9859-4D85-ADB8-35BF64F4BBCE}" presName="aSpace2" presStyleCnt="0"/>
      <dgm:spPr/>
    </dgm:pt>
    <dgm:pt modelId="{9427EFDD-411C-4C06-BC93-829EEABCA455}" type="pres">
      <dgm:prSet presAssocID="{B3597F74-B2EE-43FA-ACCF-3BEA19D43E5D}" presName="childNode" presStyleLbl="node1" presStyleIdx="11" presStyleCnt="13">
        <dgm:presLayoutVars>
          <dgm:bulletEnabled val="1"/>
        </dgm:presLayoutVars>
      </dgm:prSet>
      <dgm:spPr/>
    </dgm:pt>
    <dgm:pt modelId="{979AEE20-602C-4389-A02C-C6AC8E99C514}" type="pres">
      <dgm:prSet presAssocID="{B3597F74-B2EE-43FA-ACCF-3BEA19D43E5D}" presName="aSpace2" presStyleCnt="0"/>
      <dgm:spPr/>
    </dgm:pt>
    <dgm:pt modelId="{71346CD0-3859-4070-A79A-B44022EA66D6}" type="pres">
      <dgm:prSet presAssocID="{E94CDED8-A888-4550-ADAD-66E1C13C00DE}" presName="childNode" presStyleLbl="node1" presStyleIdx="12" presStyleCnt="13">
        <dgm:presLayoutVars>
          <dgm:bulletEnabled val="1"/>
        </dgm:presLayoutVars>
      </dgm:prSet>
      <dgm:spPr/>
    </dgm:pt>
  </dgm:ptLst>
  <dgm:cxnLst>
    <dgm:cxn modelId="{643135F2-4B19-4411-A47C-2C2B6BDA59D6}" type="presOf" srcId="{3B87B95A-AA55-4F7A-BF96-721607B3035E}" destId="{3653B4AF-25DD-4FD6-BF11-B9FBA02CF1C5}" srcOrd="0" destOrd="0" presId="urn:microsoft.com/office/officeart/2005/8/layout/lProcess2"/>
    <dgm:cxn modelId="{A220B47E-C962-4508-B151-3AACF5329493}" srcId="{6CFCBE1C-CFAB-44F9-BF8F-FEC37ED9C12D}" destId="{43DE2FBE-52C0-4104-BE5C-9C59EB7DDC4C}" srcOrd="2" destOrd="0" parTransId="{85B8D682-3043-4D30-9664-4A314911445F}" sibTransId="{03030540-CD61-46A7-9036-B11B02D5B605}"/>
    <dgm:cxn modelId="{F1A6BDDE-C66D-46CC-B0FE-147C525BB920}" type="presOf" srcId="{7EF68BD3-9859-4D85-ADB8-35BF64F4BBCE}" destId="{1DFC23C6-C15A-48BD-9BC8-58292610BB1C}" srcOrd="0" destOrd="0" presId="urn:microsoft.com/office/officeart/2005/8/layout/lProcess2"/>
    <dgm:cxn modelId="{82885A7D-F955-4746-941F-4E52808C4B64}" srcId="{4F96A53B-4685-4CD6-AA17-A8F9001AEA6A}" destId="{C43A9C90-CB3C-4182-9B3E-8A6F37479209}" srcOrd="4" destOrd="0" parTransId="{088244E1-2D6B-4291-B05C-31F30E2CF0AA}" sibTransId="{4CB05A12-4A69-4E91-8869-A75A108558B6}"/>
    <dgm:cxn modelId="{56F582AC-82D3-462F-8C0A-511EA50A06D0}" type="presOf" srcId="{4F96A53B-4685-4CD6-AA17-A8F9001AEA6A}" destId="{4ACBC91C-49AE-47D9-AE28-CE1A799942A2}" srcOrd="1" destOrd="0" presId="urn:microsoft.com/office/officeart/2005/8/layout/lProcess2"/>
    <dgm:cxn modelId="{A2629811-22F2-4182-AD3B-39303BE42239}" srcId="{6CFCBE1C-CFAB-44F9-BF8F-FEC37ED9C12D}" destId="{61B28DA0-C7AB-49B3-B4AA-9486CE722CCE}" srcOrd="3" destOrd="0" parTransId="{50C62E2F-9C06-452B-AB1A-3B4876CB2FEC}" sibTransId="{B5CC21AE-15FC-471D-B207-567C6D94A391}"/>
    <dgm:cxn modelId="{E80B57F4-3BD5-47CF-B2D2-ED9C916FC01D}" type="presOf" srcId="{6CFCBE1C-CFAB-44F9-BF8F-FEC37ED9C12D}" destId="{EC9D7D22-8B8A-44F3-8AB5-ED713D558AB4}" srcOrd="0" destOrd="0" presId="urn:microsoft.com/office/officeart/2005/8/layout/lProcess2"/>
    <dgm:cxn modelId="{0282F281-31CA-4B6C-A81F-26A8C280B868}" srcId="{28389F9E-7DFA-4517-8884-DA031633466E}" destId="{B1A8E891-AD79-4DCB-8FE9-DCFF953B7481}" srcOrd="2" destOrd="0" parTransId="{CBDD7684-3FE1-4B9D-90CA-D408DA38C170}" sibTransId="{23D13003-352D-4E91-A61F-D792871B8BA1}"/>
    <dgm:cxn modelId="{7C912F22-E2D5-4CE4-B50C-3CF438F6BB77}" type="presOf" srcId="{61B28DA0-C7AB-49B3-B4AA-9486CE722CCE}" destId="{70A1ABAE-B933-46AA-A112-3F923668F3AF}" srcOrd="0" destOrd="0" presId="urn:microsoft.com/office/officeart/2005/8/layout/lProcess2"/>
    <dgm:cxn modelId="{63C3DDD7-F9A6-48D0-A9DB-C15AA1D6374E}" type="presOf" srcId="{C43A9C90-CB3C-4182-9B3E-8A6F37479209}" destId="{82736933-D101-4418-BC42-18054EFCD8A3}" srcOrd="0" destOrd="0" presId="urn:microsoft.com/office/officeart/2005/8/layout/lProcess2"/>
    <dgm:cxn modelId="{EBB9BE79-D92E-4F23-8B56-3B9814EE1178}" type="presOf" srcId="{43DE2FBE-52C0-4104-BE5C-9C59EB7DDC4C}" destId="{E695D911-26E1-4E9C-9CAC-B3FB519F0D87}" srcOrd="0" destOrd="0" presId="urn:microsoft.com/office/officeart/2005/8/layout/lProcess2"/>
    <dgm:cxn modelId="{67A31E62-B94D-4E1A-AF71-9455B884BC36}" type="presOf" srcId="{BBD0883C-2C0B-4B53-AB71-7885AA27342E}" destId="{80A98F77-4DC6-4AFD-A471-53ED5590135B}" srcOrd="0" destOrd="0" presId="urn:microsoft.com/office/officeart/2005/8/layout/lProcess2"/>
    <dgm:cxn modelId="{EC8D461A-7A69-4C34-ACEB-C0D797D458FB}" type="presOf" srcId="{E94CDED8-A888-4550-ADAD-66E1C13C00DE}" destId="{71346CD0-3859-4070-A79A-B44022EA66D6}" srcOrd="0" destOrd="0" presId="urn:microsoft.com/office/officeart/2005/8/layout/lProcess2"/>
    <dgm:cxn modelId="{FC949F94-EB52-4AC5-B541-6BE3C38C51EC}" type="presOf" srcId="{2657F7F4-A687-4CD5-B1E5-02D8EC6D2694}" destId="{EA205839-FDEC-4749-86CF-5B0FCF16BA27}" srcOrd="0" destOrd="0" presId="urn:microsoft.com/office/officeart/2005/8/layout/lProcess2"/>
    <dgm:cxn modelId="{594BB876-26E0-4BE3-8182-98B1FA5E96D1}" type="presOf" srcId="{6E269DDF-6014-4442-BC49-955E00F0225D}" destId="{AFC79A4E-62B9-408C-A604-A7B3B8B1D63C}" srcOrd="0" destOrd="0" presId="urn:microsoft.com/office/officeart/2005/8/layout/lProcess2"/>
    <dgm:cxn modelId="{2314519E-A268-4D52-85AE-7AC2FCBB6C5F}" srcId="{B1A8E891-AD79-4DCB-8FE9-DCFF953B7481}" destId="{6F5CC72B-C2FF-437A-A9B7-06ADD454A8A3}" srcOrd="0" destOrd="0" parTransId="{1971A31B-8AC7-4935-A48D-95A8306BB76D}" sibTransId="{4F6F8D2C-4E17-4027-AF3A-57D91D40883C}"/>
    <dgm:cxn modelId="{00AD4443-57F4-417F-9684-14E48977C013}" srcId="{B1A8E891-AD79-4DCB-8FE9-DCFF953B7481}" destId="{7EF68BD3-9859-4D85-ADB8-35BF64F4BBCE}" srcOrd="1" destOrd="0" parTransId="{DC990318-BD2E-40D2-BCF4-E6ED33F9B6B6}" sibTransId="{286A0E51-8D19-40B0-9C6D-8817B37552DE}"/>
    <dgm:cxn modelId="{94AF92F0-D77C-4521-9F12-1B3DA7EDF39D}" srcId="{6CFCBE1C-CFAB-44F9-BF8F-FEC37ED9C12D}" destId="{5E45E65F-B5F9-41C5-94EB-CB11E196267D}" srcOrd="1" destOrd="0" parTransId="{6BE409A0-5DD9-41D8-B40A-B71F7BCC6227}" sibTransId="{30F36435-D006-4854-849B-B45A32B8405B}"/>
    <dgm:cxn modelId="{7658DD35-043F-47A2-BB57-FF9B0470BCC9}" type="presOf" srcId="{6F5CC72B-C2FF-437A-A9B7-06ADD454A8A3}" destId="{ACB3DFCF-00BF-4285-A982-C2A0CA69C802}" srcOrd="0" destOrd="0" presId="urn:microsoft.com/office/officeart/2005/8/layout/lProcess2"/>
    <dgm:cxn modelId="{E9A2DDF5-D7BC-4355-B0DF-0BEB54021226}" srcId="{4F96A53B-4685-4CD6-AA17-A8F9001AEA6A}" destId="{3B87B95A-AA55-4F7A-BF96-721607B3035E}" srcOrd="1" destOrd="0" parTransId="{F23E1082-08EE-4C75-AAEA-FBD7382BFF55}" sibTransId="{90B288A3-DFAC-41D1-934E-B87580457B9C}"/>
    <dgm:cxn modelId="{2B139A89-697F-4EA4-B638-67121AC0AB9E}" type="presOf" srcId="{5E45E65F-B5F9-41C5-94EB-CB11E196267D}" destId="{5D8D98A1-3898-47C5-85DB-543452396AA1}" srcOrd="0" destOrd="0" presId="urn:microsoft.com/office/officeart/2005/8/layout/lProcess2"/>
    <dgm:cxn modelId="{3FF03233-F65F-40D9-8957-C97046710C4E}" type="presOf" srcId="{4F96A53B-4685-4CD6-AA17-A8F9001AEA6A}" destId="{CDC6B58C-3710-4AE3-8C2C-FD16F3498EFB}" srcOrd="0" destOrd="0" presId="urn:microsoft.com/office/officeart/2005/8/layout/lProcess2"/>
    <dgm:cxn modelId="{CAD48884-1CA4-4D3C-86E1-A78934E02C5C}" srcId="{4F96A53B-4685-4CD6-AA17-A8F9001AEA6A}" destId="{2657F7F4-A687-4CD5-B1E5-02D8EC6D2694}" srcOrd="2" destOrd="0" parTransId="{E97707AF-3359-4445-B223-67A16810151E}" sibTransId="{80024599-FA0A-46B5-AC78-8B5588194A00}"/>
    <dgm:cxn modelId="{3FC30075-C07B-497A-A697-B380357A6EC1}" srcId="{6CFCBE1C-CFAB-44F9-BF8F-FEC37ED9C12D}" destId="{6E269DDF-6014-4442-BC49-955E00F0225D}" srcOrd="0" destOrd="0" parTransId="{EA3DE303-8B9A-4B00-BD4A-5C24697F99D4}" sibTransId="{46D507A2-C178-4A8F-A1F0-BF2BAEB1E767}"/>
    <dgm:cxn modelId="{C25F454F-E843-4F07-B29C-5213E4760FA9}" type="presOf" srcId="{B3597F74-B2EE-43FA-ACCF-3BEA19D43E5D}" destId="{9427EFDD-411C-4C06-BC93-829EEABCA455}" srcOrd="0" destOrd="0" presId="urn:microsoft.com/office/officeart/2005/8/layout/lProcess2"/>
    <dgm:cxn modelId="{3AF86980-53FC-4C75-862D-B9061FA88971}" srcId="{4F96A53B-4685-4CD6-AA17-A8F9001AEA6A}" destId="{294B059F-F34E-41EC-AECA-8CBABFA00805}" srcOrd="0" destOrd="0" parTransId="{F0C400CC-917F-45DB-BA50-174AC7BE7767}" sibTransId="{081C146B-1A9F-4FFF-B359-7A3E9A0A2FD6}"/>
    <dgm:cxn modelId="{B559301E-93CA-4E5B-9C5D-030EE8F64A7A}" type="presOf" srcId="{B1A8E891-AD79-4DCB-8FE9-DCFF953B7481}" destId="{D274C9F7-A5FA-42EB-BC2E-06D09756D863}" srcOrd="1" destOrd="0" presId="urn:microsoft.com/office/officeart/2005/8/layout/lProcess2"/>
    <dgm:cxn modelId="{F537E530-8C4B-45FA-8BE9-4F563CC0A153}" type="presOf" srcId="{28389F9E-7DFA-4517-8884-DA031633466E}" destId="{9AFA570C-E937-487F-B245-3F70128655DD}" srcOrd="0" destOrd="0" presId="urn:microsoft.com/office/officeart/2005/8/layout/lProcess2"/>
    <dgm:cxn modelId="{387D9541-BDEF-4F3C-99CE-4572385F4DDB}" srcId="{28389F9E-7DFA-4517-8884-DA031633466E}" destId="{4F96A53B-4685-4CD6-AA17-A8F9001AEA6A}" srcOrd="0" destOrd="0" parTransId="{90E72AAB-8AFF-41F5-88B5-23DECB83A6FB}" sibTransId="{6FD0963A-F834-4B56-86A2-4262159A4629}"/>
    <dgm:cxn modelId="{BC337C76-6A7A-4674-B071-D2F168EBC571}" type="presOf" srcId="{B1A8E891-AD79-4DCB-8FE9-DCFF953B7481}" destId="{E4ED622B-E0D2-4A00-82DF-CDC604181BD0}" srcOrd="0" destOrd="0" presId="urn:microsoft.com/office/officeart/2005/8/layout/lProcess2"/>
    <dgm:cxn modelId="{705F8749-ACAD-4D87-8F53-C751A4309DC1}" srcId="{4F96A53B-4685-4CD6-AA17-A8F9001AEA6A}" destId="{BBD0883C-2C0B-4B53-AB71-7885AA27342E}" srcOrd="3" destOrd="0" parTransId="{A7C84EE9-0632-4F64-8639-5C06C8F6060D}" sibTransId="{085681B2-E7A6-416D-85A1-7F64DFCEE6DE}"/>
    <dgm:cxn modelId="{39A4EB37-F88F-48F6-BEA8-3A0D90F1F48A}" type="presOf" srcId="{6CFCBE1C-CFAB-44F9-BF8F-FEC37ED9C12D}" destId="{ED55298B-F16D-4C29-B500-836768FBD853}" srcOrd="1" destOrd="0" presId="urn:microsoft.com/office/officeart/2005/8/layout/lProcess2"/>
    <dgm:cxn modelId="{8CC7E83D-415E-414D-9F35-26C0CD52ADB8}" srcId="{B1A8E891-AD79-4DCB-8FE9-DCFF953B7481}" destId="{B3597F74-B2EE-43FA-ACCF-3BEA19D43E5D}" srcOrd="2" destOrd="0" parTransId="{8D18D3D3-1962-4E01-A7CB-6713337D1030}" sibTransId="{5EF7BCA7-08F2-4733-8A49-95801167A7E3}"/>
    <dgm:cxn modelId="{1F9B29BB-4242-4EA6-9FE7-42E4DE7224EA}" srcId="{28389F9E-7DFA-4517-8884-DA031633466E}" destId="{6CFCBE1C-CFAB-44F9-BF8F-FEC37ED9C12D}" srcOrd="1" destOrd="0" parTransId="{035AB817-FEFE-4E12-9022-4B128E97DD98}" sibTransId="{ED1AF7D7-D24A-44AC-8F45-A52889D6A233}"/>
    <dgm:cxn modelId="{9AAB858A-9215-4EBF-BC65-CD33A8EF802A}" srcId="{B1A8E891-AD79-4DCB-8FE9-DCFF953B7481}" destId="{E94CDED8-A888-4550-ADAD-66E1C13C00DE}" srcOrd="3" destOrd="0" parTransId="{687E5D50-7FAE-4F90-B3F3-28C5055D89F2}" sibTransId="{F9B7084F-5715-4116-9D81-ED5C2BE7E584}"/>
    <dgm:cxn modelId="{6311B423-09A6-4A2B-8194-2FEE55529CD3}" type="presOf" srcId="{294B059F-F34E-41EC-AECA-8CBABFA00805}" destId="{47C25420-8EBA-4AF9-AF1F-F81C59C6BCC3}" srcOrd="0" destOrd="0" presId="urn:microsoft.com/office/officeart/2005/8/layout/lProcess2"/>
    <dgm:cxn modelId="{153AC6C7-0F6F-40A2-AEB8-523F4C00706B}" type="presParOf" srcId="{9AFA570C-E937-487F-B245-3F70128655DD}" destId="{A856383C-12E1-43C8-851F-915A5C829057}" srcOrd="0" destOrd="0" presId="urn:microsoft.com/office/officeart/2005/8/layout/lProcess2"/>
    <dgm:cxn modelId="{821735A4-A30A-43B7-BCFB-8EA60FF0A441}" type="presParOf" srcId="{A856383C-12E1-43C8-851F-915A5C829057}" destId="{CDC6B58C-3710-4AE3-8C2C-FD16F3498EFB}" srcOrd="0" destOrd="0" presId="urn:microsoft.com/office/officeart/2005/8/layout/lProcess2"/>
    <dgm:cxn modelId="{9FFAF50E-6EBF-4216-8BD1-73C0158563D5}" type="presParOf" srcId="{A856383C-12E1-43C8-851F-915A5C829057}" destId="{4ACBC91C-49AE-47D9-AE28-CE1A799942A2}" srcOrd="1" destOrd="0" presId="urn:microsoft.com/office/officeart/2005/8/layout/lProcess2"/>
    <dgm:cxn modelId="{1F224ED6-3C8B-46D7-9077-8135F38AEBB8}" type="presParOf" srcId="{A856383C-12E1-43C8-851F-915A5C829057}" destId="{E75E06C2-BAB7-48B6-9806-B0E3A95D8276}" srcOrd="2" destOrd="0" presId="urn:microsoft.com/office/officeart/2005/8/layout/lProcess2"/>
    <dgm:cxn modelId="{F519A870-B67D-4377-80F7-45D84EE23086}" type="presParOf" srcId="{E75E06C2-BAB7-48B6-9806-B0E3A95D8276}" destId="{793338E7-5EA3-4FD9-9DDF-84D127C16DC1}" srcOrd="0" destOrd="0" presId="urn:microsoft.com/office/officeart/2005/8/layout/lProcess2"/>
    <dgm:cxn modelId="{49E44D0C-7340-4BFD-B1B9-902701477B02}" type="presParOf" srcId="{793338E7-5EA3-4FD9-9DDF-84D127C16DC1}" destId="{47C25420-8EBA-4AF9-AF1F-F81C59C6BCC3}" srcOrd="0" destOrd="0" presId="urn:microsoft.com/office/officeart/2005/8/layout/lProcess2"/>
    <dgm:cxn modelId="{BF936829-4F8F-4085-A7E1-1F1EB4A71CC0}" type="presParOf" srcId="{793338E7-5EA3-4FD9-9DDF-84D127C16DC1}" destId="{079E5723-FF34-4577-A338-7108F3017E36}" srcOrd="1" destOrd="0" presId="urn:microsoft.com/office/officeart/2005/8/layout/lProcess2"/>
    <dgm:cxn modelId="{611CC43A-6989-4F1F-85AF-B8B38D622FC3}" type="presParOf" srcId="{793338E7-5EA3-4FD9-9DDF-84D127C16DC1}" destId="{3653B4AF-25DD-4FD6-BF11-B9FBA02CF1C5}" srcOrd="2" destOrd="0" presId="urn:microsoft.com/office/officeart/2005/8/layout/lProcess2"/>
    <dgm:cxn modelId="{50934448-3FBF-49D5-829C-5B59E25DC4DC}" type="presParOf" srcId="{793338E7-5EA3-4FD9-9DDF-84D127C16DC1}" destId="{038DFF1C-87C9-4E83-AB86-35C8BE3E9823}" srcOrd="3" destOrd="0" presId="urn:microsoft.com/office/officeart/2005/8/layout/lProcess2"/>
    <dgm:cxn modelId="{C6601AC7-97E7-4909-BF61-95E64D5318C8}" type="presParOf" srcId="{793338E7-5EA3-4FD9-9DDF-84D127C16DC1}" destId="{EA205839-FDEC-4749-86CF-5B0FCF16BA27}" srcOrd="4" destOrd="0" presId="urn:microsoft.com/office/officeart/2005/8/layout/lProcess2"/>
    <dgm:cxn modelId="{3F060EA9-6BA8-46F1-B547-81350FCABDAF}" type="presParOf" srcId="{793338E7-5EA3-4FD9-9DDF-84D127C16DC1}" destId="{98359492-B9E9-47D0-BF3F-391C4A1349FC}" srcOrd="5" destOrd="0" presId="urn:microsoft.com/office/officeart/2005/8/layout/lProcess2"/>
    <dgm:cxn modelId="{80BAFCCC-DC7A-4748-9659-534AD5C52C78}" type="presParOf" srcId="{793338E7-5EA3-4FD9-9DDF-84D127C16DC1}" destId="{80A98F77-4DC6-4AFD-A471-53ED5590135B}" srcOrd="6" destOrd="0" presId="urn:microsoft.com/office/officeart/2005/8/layout/lProcess2"/>
    <dgm:cxn modelId="{4A04DC34-2C43-43B6-8883-C67D74C5174B}" type="presParOf" srcId="{793338E7-5EA3-4FD9-9DDF-84D127C16DC1}" destId="{50E8CA0B-C189-42FE-97CF-F74EA275CE2B}" srcOrd="7" destOrd="0" presId="urn:microsoft.com/office/officeart/2005/8/layout/lProcess2"/>
    <dgm:cxn modelId="{6DF751FF-0610-4923-9683-775BD091C370}" type="presParOf" srcId="{793338E7-5EA3-4FD9-9DDF-84D127C16DC1}" destId="{82736933-D101-4418-BC42-18054EFCD8A3}" srcOrd="8" destOrd="0" presId="urn:microsoft.com/office/officeart/2005/8/layout/lProcess2"/>
    <dgm:cxn modelId="{28969D4E-8B39-4A3E-B8EF-604A7E0AA445}" type="presParOf" srcId="{9AFA570C-E937-487F-B245-3F70128655DD}" destId="{8EF189CE-715D-41FD-9FA4-B5A8D80E30AE}" srcOrd="1" destOrd="0" presId="urn:microsoft.com/office/officeart/2005/8/layout/lProcess2"/>
    <dgm:cxn modelId="{A582C21D-75BC-48C4-8481-8B5F81367F45}" type="presParOf" srcId="{9AFA570C-E937-487F-B245-3F70128655DD}" destId="{23E57665-2AB8-40BF-972E-94E7AFFAC00E}" srcOrd="2" destOrd="0" presId="urn:microsoft.com/office/officeart/2005/8/layout/lProcess2"/>
    <dgm:cxn modelId="{38B9F0D5-B470-47C5-8E9A-68BDC7B12F10}" type="presParOf" srcId="{23E57665-2AB8-40BF-972E-94E7AFFAC00E}" destId="{EC9D7D22-8B8A-44F3-8AB5-ED713D558AB4}" srcOrd="0" destOrd="0" presId="urn:microsoft.com/office/officeart/2005/8/layout/lProcess2"/>
    <dgm:cxn modelId="{5D6B1996-F133-4375-887C-F6851D81B2D6}" type="presParOf" srcId="{23E57665-2AB8-40BF-972E-94E7AFFAC00E}" destId="{ED55298B-F16D-4C29-B500-836768FBD853}" srcOrd="1" destOrd="0" presId="urn:microsoft.com/office/officeart/2005/8/layout/lProcess2"/>
    <dgm:cxn modelId="{17221B42-C4EB-4209-8A56-BD559C022E26}" type="presParOf" srcId="{23E57665-2AB8-40BF-972E-94E7AFFAC00E}" destId="{70CD465F-F955-47C9-B51F-1A16E01AE26C}" srcOrd="2" destOrd="0" presId="urn:microsoft.com/office/officeart/2005/8/layout/lProcess2"/>
    <dgm:cxn modelId="{BE4C5EBF-A136-46E5-9822-674B7DFC60D6}" type="presParOf" srcId="{70CD465F-F955-47C9-B51F-1A16E01AE26C}" destId="{E68487AE-0018-4A03-8CFE-ABF07FEC4242}" srcOrd="0" destOrd="0" presId="urn:microsoft.com/office/officeart/2005/8/layout/lProcess2"/>
    <dgm:cxn modelId="{12BAE24C-2560-46CB-827B-BF3954EF83AC}" type="presParOf" srcId="{E68487AE-0018-4A03-8CFE-ABF07FEC4242}" destId="{AFC79A4E-62B9-408C-A604-A7B3B8B1D63C}" srcOrd="0" destOrd="0" presId="urn:microsoft.com/office/officeart/2005/8/layout/lProcess2"/>
    <dgm:cxn modelId="{5DDFB55A-0021-4862-8FA4-021AA7478655}" type="presParOf" srcId="{E68487AE-0018-4A03-8CFE-ABF07FEC4242}" destId="{D988E634-8BB7-4B5A-97BB-741EC42F2A20}" srcOrd="1" destOrd="0" presId="urn:microsoft.com/office/officeart/2005/8/layout/lProcess2"/>
    <dgm:cxn modelId="{C38B3CFD-7D27-408D-8218-D7BA6F1C0323}" type="presParOf" srcId="{E68487AE-0018-4A03-8CFE-ABF07FEC4242}" destId="{5D8D98A1-3898-47C5-85DB-543452396AA1}" srcOrd="2" destOrd="0" presId="urn:microsoft.com/office/officeart/2005/8/layout/lProcess2"/>
    <dgm:cxn modelId="{14AA1923-D610-4586-B8EA-0D5766858C8F}" type="presParOf" srcId="{E68487AE-0018-4A03-8CFE-ABF07FEC4242}" destId="{1D796039-6936-482A-A150-4BCC145E02C4}" srcOrd="3" destOrd="0" presId="urn:microsoft.com/office/officeart/2005/8/layout/lProcess2"/>
    <dgm:cxn modelId="{587BE92C-8B01-4BFD-9DFC-A06FD70870E3}" type="presParOf" srcId="{E68487AE-0018-4A03-8CFE-ABF07FEC4242}" destId="{E695D911-26E1-4E9C-9CAC-B3FB519F0D87}" srcOrd="4" destOrd="0" presId="urn:microsoft.com/office/officeart/2005/8/layout/lProcess2"/>
    <dgm:cxn modelId="{63106519-AE25-4774-B616-D2D4DAF08C47}" type="presParOf" srcId="{E68487AE-0018-4A03-8CFE-ABF07FEC4242}" destId="{08A26C6D-DF42-40A0-B97E-2486EB117D3C}" srcOrd="5" destOrd="0" presId="urn:microsoft.com/office/officeart/2005/8/layout/lProcess2"/>
    <dgm:cxn modelId="{05D88FC5-3136-4EDF-9981-DDA8CC689325}" type="presParOf" srcId="{E68487AE-0018-4A03-8CFE-ABF07FEC4242}" destId="{70A1ABAE-B933-46AA-A112-3F923668F3AF}" srcOrd="6" destOrd="0" presId="urn:microsoft.com/office/officeart/2005/8/layout/lProcess2"/>
    <dgm:cxn modelId="{80196958-092A-47A5-883D-EB9EC1B6E73B}" type="presParOf" srcId="{9AFA570C-E937-487F-B245-3F70128655DD}" destId="{05EFC3CF-E921-4E26-8B96-9DEC05660B86}" srcOrd="3" destOrd="0" presId="urn:microsoft.com/office/officeart/2005/8/layout/lProcess2"/>
    <dgm:cxn modelId="{7923AF54-EA52-4AA4-8BC7-5477D01EED86}" type="presParOf" srcId="{9AFA570C-E937-487F-B245-3F70128655DD}" destId="{442C9CE7-2774-4215-B898-968E0250250E}" srcOrd="4" destOrd="0" presId="urn:microsoft.com/office/officeart/2005/8/layout/lProcess2"/>
    <dgm:cxn modelId="{E7956DD1-7C7A-43C5-82CA-F689ED226EA2}" type="presParOf" srcId="{442C9CE7-2774-4215-B898-968E0250250E}" destId="{E4ED622B-E0D2-4A00-82DF-CDC604181BD0}" srcOrd="0" destOrd="0" presId="urn:microsoft.com/office/officeart/2005/8/layout/lProcess2"/>
    <dgm:cxn modelId="{D9F079E4-11BC-4276-A8B0-AC38540BB0B9}" type="presParOf" srcId="{442C9CE7-2774-4215-B898-968E0250250E}" destId="{D274C9F7-A5FA-42EB-BC2E-06D09756D863}" srcOrd="1" destOrd="0" presId="urn:microsoft.com/office/officeart/2005/8/layout/lProcess2"/>
    <dgm:cxn modelId="{BDD5E99E-C79E-4328-9B2C-89EF81F73868}" type="presParOf" srcId="{442C9CE7-2774-4215-B898-968E0250250E}" destId="{6C582C08-D0DD-4479-8194-9218C9772EA9}" srcOrd="2" destOrd="0" presId="urn:microsoft.com/office/officeart/2005/8/layout/lProcess2"/>
    <dgm:cxn modelId="{D7C50B52-81BD-41C0-99AD-51C5DF1AF869}" type="presParOf" srcId="{6C582C08-D0DD-4479-8194-9218C9772EA9}" destId="{83405B14-830B-4A6C-A603-24297C1639E6}" srcOrd="0" destOrd="0" presId="urn:microsoft.com/office/officeart/2005/8/layout/lProcess2"/>
    <dgm:cxn modelId="{21EFAAE3-7E46-434B-855B-3402C9B80257}" type="presParOf" srcId="{83405B14-830B-4A6C-A603-24297C1639E6}" destId="{ACB3DFCF-00BF-4285-A982-C2A0CA69C802}" srcOrd="0" destOrd="0" presId="urn:microsoft.com/office/officeart/2005/8/layout/lProcess2"/>
    <dgm:cxn modelId="{2345E853-1CE2-4AC5-A250-2F8EB165574B}" type="presParOf" srcId="{83405B14-830B-4A6C-A603-24297C1639E6}" destId="{D4A1D4A3-FD49-4AB6-BE2C-2BA246FC230C}" srcOrd="1" destOrd="0" presId="urn:microsoft.com/office/officeart/2005/8/layout/lProcess2"/>
    <dgm:cxn modelId="{73BEA694-6A61-4FAB-BCAC-77352212C25A}" type="presParOf" srcId="{83405B14-830B-4A6C-A603-24297C1639E6}" destId="{1DFC23C6-C15A-48BD-9BC8-58292610BB1C}" srcOrd="2" destOrd="0" presId="urn:microsoft.com/office/officeart/2005/8/layout/lProcess2"/>
    <dgm:cxn modelId="{902A1C47-F136-4BBD-95A4-750277059B68}" type="presParOf" srcId="{83405B14-830B-4A6C-A603-24297C1639E6}" destId="{6531767E-1304-40C2-AA4D-03095342C266}" srcOrd="3" destOrd="0" presId="urn:microsoft.com/office/officeart/2005/8/layout/lProcess2"/>
    <dgm:cxn modelId="{A3A9E5A0-2488-4137-866C-DB55852D0C97}" type="presParOf" srcId="{83405B14-830B-4A6C-A603-24297C1639E6}" destId="{9427EFDD-411C-4C06-BC93-829EEABCA455}" srcOrd="4" destOrd="0" presId="urn:microsoft.com/office/officeart/2005/8/layout/lProcess2"/>
    <dgm:cxn modelId="{A897994A-91EE-42D7-8C3B-0BD8AD19BD21}" type="presParOf" srcId="{83405B14-830B-4A6C-A603-24297C1639E6}" destId="{979AEE20-602C-4389-A02C-C6AC8E99C514}" srcOrd="5" destOrd="0" presId="urn:microsoft.com/office/officeart/2005/8/layout/lProcess2"/>
    <dgm:cxn modelId="{BF7AFABD-6B4C-42FA-9D80-262C9C4FED1A}" type="presParOf" srcId="{83405B14-830B-4A6C-A603-24297C1639E6}" destId="{71346CD0-3859-4070-A79A-B44022EA66D6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9C412BD-81C6-4ED4-AA8F-95D4EDA224C3}" type="doc">
      <dgm:prSet loTypeId="urn:microsoft.com/office/officeart/2005/8/layout/hierarchy4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660A9DB3-2254-47DB-B5AE-1B386CCA8B8C}">
      <dgm:prSet phldrT="[Text]"/>
      <dgm:spPr/>
      <dgm:t>
        <a:bodyPr/>
        <a:lstStyle/>
        <a:p>
          <a:r>
            <a:rPr lang="en-US" dirty="0"/>
            <a:t>PCI DSS Penetration Testing</a:t>
          </a:r>
        </a:p>
      </dgm:t>
    </dgm:pt>
    <dgm:pt modelId="{1673C3BC-9B1B-4225-9183-05A655D55025}" type="parTrans" cxnId="{60AD39C5-66E6-408A-99E5-66B22B790F90}">
      <dgm:prSet/>
      <dgm:spPr/>
      <dgm:t>
        <a:bodyPr/>
        <a:lstStyle/>
        <a:p>
          <a:endParaRPr lang="en-US"/>
        </a:p>
      </dgm:t>
    </dgm:pt>
    <dgm:pt modelId="{114C9E45-EF14-4F34-B273-FDC09C8AEFBB}" type="sibTrans" cxnId="{60AD39C5-66E6-408A-99E5-66B22B790F90}">
      <dgm:prSet/>
      <dgm:spPr/>
      <dgm:t>
        <a:bodyPr/>
        <a:lstStyle/>
        <a:p>
          <a:endParaRPr lang="en-US"/>
        </a:p>
      </dgm:t>
    </dgm:pt>
    <dgm:pt modelId="{41E9ECB5-C847-44BF-81F8-E1489F6A7D80}">
      <dgm:prSet phldrT="[Text]" custT="1"/>
      <dgm:spPr/>
      <dgm:t>
        <a:bodyPr/>
        <a:lstStyle/>
        <a:p>
          <a:r>
            <a:rPr lang="en-US" sz="3000" dirty="0"/>
            <a:t>External</a:t>
          </a:r>
        </a:p>
      </dgm:t>
    </dgm:pt>
    <dgm:pt modelId="{EEB315E8-8563-4812-8EE9-C2E46F541D98}" type="parTrans" cxnId="{6A34D55A-1E30-40D4-81D1-BC92B555253B}">
      <dgm:prSet/>
      <dgm:spPr/>
      <dgm:t>
        <a:bodyPr/>
        <a:lstStyle/>
        <a:p>
          <a:endParaRPr lang="en-US"/>
        </a:p>
      </dgm:t>
    </dgm:pt>
    <dgm:pt modelId="{5E0D6707-D1F8-4E99-9D35-6C84DA7F44B2}" type="sibTrans" cxnId="{6A34D55A-1E30-40D4-81D1-BC92B555253B}">
      <dgm:prSet/>
      <dgm:spPr/>
      <dgm:t>
        <a:bodyPr/>
        <a:lstStyle/>
        <a:p>
          <a:endParaRPr lang="en-US"/>
        </a:p>
      </dgm:t>
    </dgm:pt>
    <dgm:pt modelId="{98CC11D6-F54B-4E54-8FFA-0AF1632CAECE}">
      <dgm:prSet phldrT="[Text]" custT="1"/>
      <dgm:spPr/>
      <dgm:t>
        <a:bodyPr/>
        <a:lstStyle/>
        <a:p>
          <a:r>
            <a:rPr lang="en-US" sz="2600" dirty="0"/>
            <a:t>AL</a:t>
          </a:r>
        </a:p>
      </dgm:t>
    </dgm:pt>
    <dgm:pt modelId="{6CC6DE4E-726B-44B1-A010-EB29B006B5C1}" type="parTrans" cxnId="{8554DA31-576D-4F44-B46C-24A7DEA7F071}">
      <dgm:prSet/>
      <dgm:spPr/>
      <dgm:t>
        <a:bodyPr/>
        <a:lstStyle/>
        <a:p>
          <a:endParaRPr lang="en-US"/>
        </a:p>
      </dgm:t>
    </dgm:pt>
    <dgm:pt modelId="{973A002A-6E21-4143-AB22-56C9F4CE7D4E}" type="sibTrans" cxnId="{8554DA31-576D-4F44-B46C-24A7DEA7F071}">
      <dgm:prSet/>
      <dgm:spPr/>
      <dgm:t>
        <a:bodyPr/>
        <a:lstStyle/>
        <a:p>
          <a:endParaRPr lang="en-US"/>
        </a:p>
      </dgm:t>
    </dgm:pt>
    <dgm:pt modelId="{F6F75A31-2938-4C94-BD6B-678B632E17C3}">
      <dgm:prSet phldrT="[Text]" custT="1"/>
      <dgm:spPr/>
      <dgm:t>
        <a:bodyPr/>
        <a:lstStyle/>
        <a:p>
          <a:r>
            <a:rPr lang="en-US" sz="2600" dirty="0"/>
            <a:t>NL</a:t>
          </a:r>
        </a:p>
      </dgm:t>
    </dgm:pt>
    <dgm:pt modelId="{A66D3092-152F-4F2C-8B7B-4A4BB142AE17}" type="parTrans" cxnId="{E4EBE029-1F21-402F-9603-A07983CCB03A}">
      <dgm:prSet/>
      <dgm:spPr/>
      <dgm:t>
        <a:bodyPr/>
        <a:lstStyle/>
        <a:p>
          <a:endParaRPr lang="en-US"/>
        </a:p>
      </dgm:t>
    </dgm:pt>
    <dgm:pt modelId="{A2E6E70A-AC74-421F-B618-803E1380DAE9}" type="sibTrans" cxnId="{E4EBE029-1F21-402F-9603-A07983CCB03A}">
      <dgm:prSet/>
      <dgm:spPr/>
      <dgm:t>
        <a:bodyPr/>
        <a:lstStyle/>
        <a:p>
          <a:endParaRPr lang="en-US"/>
        </a:p>
      </dgm:t>
    </dgm:pt>
    <dgm:pt modelId="{7412040D-16ED-4342-AD8F-A2F718A01DD8}">
      <dgm:prSet phldrT="[Text]" custT="1"/>
      <dgm:spPr/>
      <dgm:t>
        <a:bodyPr/>
        <a:lstStyle/>
        <a:p>
          <a:r>
            <a:rPr lang="en-US" sz="3000" dirty="0"/>
            <a:t>Internal</a:t>
          </a:r>
        </a:p>
      </dgm:t>
    </dgm:pt>
    <dgm:pt modelId="{7FC5FFB1-4B07-48AE-8148-47C3DD9BD908}" type="parTrans" cxnId="{EB2B0356-2677-42A0-9855-2628851C88AC}">
      <dgm:prSet/>
      <dgm:spPr/>
      <dgm:t>
        <a:bodyPr/>
        <a:lstStyle/>
        <a:p>
          <a:endParaRPr lang="en-US"/>
        </a:p>
      </dgm:t>
    </dgm:pt>
    <dgm:pt modelId="{969942CE-8990-4AAB-AC4E-E65E469C3728}" type="sibTrans" cxnId="{EB2B0356-2677-42A0-9855-2628851C88AC}">
      <dgm:prSet/>
      <dgm:spPr/>
      <dgm:t>
        <a:bodyPr/>
        <a:lstStyle/>
        <a:p>
          <a:endParaRPr lang="en-US"/>
        </a:p>
      </dgm:t>
    </dgm:pt>
    <dgm:pt modelId="{04BD4A56-321B-4451-9A45-EDCA492FBE4F}">
      <dgm:prSet phldrT="[Text]" custT="1"/>
      <dgm:spPr/>
      <dgm:t>
        <a:bodyPr/>
        <a:lstStyle/>
        <a:p>
          <a:r>
            <a:rPr lang="en-US" sz="2600" dirty="0"/>
            <a:t>AL</a:t>
          </a:r>
        </a:p>
      </dgm:t>
    </dgm:pt>
    <dgm:pt modelId="{E88874A5-0B9C-4E22-92F7-914ECF76783C}" type="parTrans" cxnId="{1136F962-12A0-4640-90C2-9E163EB3AC16}">
      <dgm:prSet/>
      <dgm:spPr/>
      <dgm:t>
        <a:bodyPr/>
        <a:lstStyle/>
        <a:p>
          <a:endParaRPr lang="en-US"/>
        </a:p>
      </dgm:t>
    </dgm:pt>
    <dgm:pt modelId="{0F14845E-06A1-44EB-B953-29C7988DE8F4}" type="sibTrans" cxnId="{1136F962-12A0-4640-90C2-9E163EB3AC16}">
      <dgm:prSet/>
      <dgm:spPr/>
      <dgm:t>
        <a:bodyPr/>
        <a:lstStyle/>
        <a:p>
          <a:endParaRPr lang="en-US"/>
        </a:p>
      </dgm:t>
    </dgm:pt>
    <dgm:pt modelId="{17516D36-8372-48CD-A7F7-290DD51E4048}">
      <dgm:prSet phldrT="[Text]" custT="1"/>
      <dgm:spPr/>
      <dgm:t>
        <a:bodyPr/>
        <a:lstStyle/>
        <a:p>
          <a:r>
            <a:rPr lang="en-US" sz="2600" dirty="0"/>
            <a:t>NL</a:t>
          </a:r>
        </a:p>
      </dgm:t>
    </dgm:pt>
    <dgm:pt modelId="{DD233B56-5284-4145-951A-5707A55C9AA7}" type="parTrans" cxnId="{8624276C-D0A9-42E0-8BF2-9D77D336ACCE}">
      <dgm:prSet/>
      <dgm:spPr/>
      <dgm:t>
        <a:bodyPr/>
        <a:lstStyle/>
        <a:p>
          <a:endParaRPr lang="en-US"/>
        </a:p>
      </dgm:t>
    </dgm:pt>
    <dgm:pt modelId="{4CBE88A6-9C11-4079-AEB0-242373182181}" type="sibTrans" cxnId="{8624276C-D0A9-42E0-8BF2-9D77D336ACCE}">
      <dgm:prSet/>
      <dgm:spPr/>
      <dgm:t>
        <a:bodyPr/>
        <a:lstStyle/>
        <a:p>
          <a:endParaRPr lang="en-US"/>
        </a:p>
      </dgm:t>
    </dgm:pt>
    <dgm:pt modelId="{6D48B578-83B9-409C-ABBC-63B301E32089}">
      <dgm:prSet phldrT="[Text]"/>
      <dgm:spPr/>
      <dgm:t>
        <a:bodyPr/>
        <a:lstStyle/>
        <a:p>
          <a:r>
            <a:rPr lang="en-US" dirty="0"/>
            <a:t>Segmentation Checks</a:t>
          </a:r>
        </a:p>
      </dgm:t>
    </dgm:pt>
    <dgm:pt modelId="{B951A2BA-6150-4288-BEDF-48E14BE65FAB}" type="parTrans" cxnId="{3FFCAFEC-9338-48A6-BBFD-98130C208566}">
      <dgm:prSet/>
      <dgm:spPr/>
      <dgm:t>
        <a:bodyPr/>
        <a:lstStyle/>
        <a:p>
          <a:endParaRPr lang="en-US"/>
        </a:p>
      </dgm:t>
    </dgm:pt>
    <dgm:pt modelId="{4C313398-2114-4610-810B-25958121A05C}" type="sibTrans" cxnId="{3FFCAFEC-9338-48A6-BBFD-98130C208566}">
      <dgm:prSet/>
      <dgm:spPr/>
      <dgm:t>
        <a:bodyPr/>
        <a:lstStyle/>
        <a:p>
          <a:endParaRPr lang="en-US"/>
        </a:p>
      </dgm:t>
    </dgm:pt>
    <dgm:pt modelId="{64C34942-C776-474F-8B4F-F06C7234D21E}" type="pres">
      <dgm:prSet presAssocID="{39C412BD-81C6-4ED4-AA8F-95D4EDA224C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10DFD3E2-7918-4EE0-A465-1EC58C456BD7}" type="pres">
      <dgm:prSet presAssocID="{660A9DB3-2254-47DB-B5AE-1B386CCA8B8C}" presName="vertOne" presStyleCnt="0"/>
      <dgm:spPr/>
    </dgm:pt>
    <dgm:pt modelId="{B93C73CE-EEA3-41B4-A9EB-8674E9ADC764}" type="pres">
      <dgm:prSet presAssocID="{660A9DB3-2254-47DB-B5AE-1B386CCA8B8C}" presName="txOne" presStyleLbl="node0" presStyleIdx="0" presStyleCnt="1" custLinFactY="-1646" custLinFactNeighborX="4758" custLinFactNeighborY="-100000">
        <dgm:presLayoutVars>
          <dgm:chPref val="3"/>
        </dgm:presLayoutVars>
      </dgm:prSet>
      <dgm:spPr/>
    </dgm:pt>
    <dgm:pt modelId="{1FB0C091-F218-48B3-BFC1-1FC3EC3A8F30}" type="pres">
      <dgm:prSet presAssocID="{660A9DB3-2254-47DB-B5AE-1B386CCA8B8C}" presName="parTransOne" presStyleCnt="0"/>
      <dgm:spPr/>
    </dgm:pt>
    <dgm:pt modelId="{41C87C8B-5F8E-4D4C-B2F8-A2A234EC5874}" type="pres">
      <dgm:prSet presAssocID="{660A9DB3-2254-47DB-B5AE-1B386CCA8B8C}" presName="horzOne" presStyleCnt="0"/>
      <dgm:spPr/>
    </dgm:pt>
    <dgm:pt modelId="{2A0CD1B5-00EA-4F32-A1BE-B2F575AFF123}" type="pres">
      <dgm:prSet presAssocID="{41E9ECB5-C847-44BF-81F8-E1489F6A7D80}" presName="vertTwo" presStyleCnt="0"/>
      <dgm:spPr/>
    </dgm:pt>
    <dgm:pt modelId="{D73CC9D0-0007-47A9-8FB7-AF8C2BEE618C}" type="pres">
      <dgm:prSet presAssocID="{41E9ECB5-C847-44BF-81F8-E1489F6A7D80}" presName="txTwo" presStyleLbl="node2" presStyleIdx="0" presStyleCnt="3">
        <dgm:presLayoutVars>
          <dgm:chPref val="3"/>
        </dgm:presLayoutVars>
      </dgm:prSet>
      <dgm:spPr/>
    </dgm:pt>
    <dgm:pt modelId="{BBEF71DB-4AFC-4106-B783-12D5FD50BC1C}" type="pres">
      <dgm:prSet presAssocID="{41E9ECB5-C847-44BF-81F8-E1489F6A7D80}" presName="parTransTwo" presStyleCnt="0"/>
      <dgm:spPr/>
    </dgm:pt>
    <dgm:pt modelId="{677409DC-6B21-4572-877B-D97F9CEF2B12}" type="pres">
      <dgm:prSet presAssocID="{41E9ECB5-C847-44BF-81F8-E1489F6A7D80}" presName="horzTwo" presStyleCnt="0"/>
      <dgm:spPr/>
    </dgm:pt>
    <dgm:pt modelId="{70BB0E3B-0808-4C20-AA5C-03B7D58BCD56}" type="pres">
      <dgm:prSet presAssocID="{98CC11D6-F54B-4E54-8FFA-0AF1632CAECE}" presName="vertThree" presStyleCnt="0"/>
      <dgm:spPr/>
    </dgm:pt>
    <dgm:pt modelId="{CE45B45B-D9BB-4BFD-B922-11F1267C0517}" type="pres">
      <dgm:prSet presAssocID="{98CC11D6-F54B-4E54-8FFA-0AF1632CAECE}" presName="txThree" presStyleLbl="node3" presStyleIdx="0" presStyleCnt="4">
        <dgm:presLayoutVars>
          <dgm:chPref val="3"/>
        </dgm:presLayoutVars>
      </dgm:prSet>
      <dgm:spPr/>
    </dgm:pt>
    <dgm:pt modelId="{A35D073B-2C17-40FC-97A8-0230F615CD4A}" type="pres">
      <dgm:prSet presAssocID="{98CC11D6-F54B-4E54-8FFA-0AF1632CAECE}" presName="horzThree" presStyleCnt="0"/>
      <dgm:spPr/>
    </dgm:pt>
    <dgm:pt modelId="{5FF5A719-2BE2-4209-8177-42CFB4879DD2}" type="pres">
      <dgm:prSet presAssocID="{973A002A-6E21-4143-AB22-56C9F4CE7D4E}" presName="sibSpaceThree" presStyleCnt="0"/>
      <dgm:spPr/>
    </dgm:pt>
    <dgm:pt modelId="{A1FBBDEC-4F7F-4A06-81B1-494A8A8D2FAF}" type="pres">
      <dgm:prSet presAssocID="{F6F75A31-2938-4C94-BD6B-678B632E17C3}" presName="vertThree" presStyleCnt="0"/>
      <dgm:spPr/>
    </dgm:pt>
    <dgm:pt modelId="{B9326CE8-ABE9-4575-A47F-5D68B507E09D}" type="pres">
      <dgm:prSet presAssocID="{F6F75A31-2938-4C94-BD6B-678B632E17C3}" presName="txThree" presStyleLbl="node3" presStyleIdx="1" presStyleCnt="4">
        <dgm:presLayoutVars>
          <dgm:chPref val="3"/>
        </dgm:presLayoutVars>
      </dgm:prSet>
      <dgm:spPr/>
    </dgm:pt>
    <dgm:pt modelId="{52B5B9FA-B021-4F06-87CC-3A878166DD89}" type="pres">
      <dgm:prSet presAssocID="{F6F75A31-2938-4C94-BD6B-678B632E17C3}" presName="horzThree" presStyleCnt="0"/>
      <dgm:spPr/>
    </dgm:pt>
    <dgm:pt modelId="{17675D64-7035-42CC-BD78-5E86240BFB4C}" type="pres">
      <dgm:prSet presAssocID="{5E0D6707-D1F8-4E99-9D35-6C84DA7F44B2}" presName="sibSpaceTwo" presStyleCnt="0"/>
      <dgm:spPr/>
    </dgm:pt>
    <dgm:pt modelId="{168C9B73-21E5-42EA-8188-D48AC8C67620}" type="pres">
      <dgm:prSet presAssocID="{7412040D-16ED-4342-AD8F-A2F718A01DD8}" presName="vertTwo" presStyleCnt="0"/>
      <dgm:spPr/>
    </dgm:pt>
    <dgm:pt modelId="{926DEE54-47FF-42AE-B416-111D6920DD15}" type="pres">
      <dgm:prSet presAssocID="{7412040D-16ED-4342-AD8F-A2F718A01DD8}" presName="txTwo" presStyleLbl="node2" presStyleIdx="1" presStyleCnt="3">
        <dgm:presLayoutVars>
          <dgm:chPref val="3"/>
        </dgm:presLayoutVars>
      </dgm:prSet>
      <dgm:spPr/>
    </dgm:pt>
    <dgm:pt modelId="{2C77F3B1-D310-4C0A-BA7D-C2ACAB4F88E7}" type="pres">
      <dgm:prSet presAssocID="{7412040D-16ED-4342-AD8F-A2F718A01DD8}" presName="parTransTwo" presStyleCnt="0"/>
      <dgm:spPr/>
    </dgm:pt>
    <dgm:pt modelId="{E61CC9BC-A264-4FFC-B8B5-63378FECFE70}" type="pres">
      <dgm:prSet presAssocID="{7412040D-16ED-4342-AD8F-A2F718A01DD8}" presName="horzTwo" presStyleCnt="0"/>
      <dgm:spPr/>
    </dgm:pt>
    <dgm:pt modelId="{49871FD5-B3F3-4DF4-B7F4-D586543BA6F9}" type="pres">
      <dgm:prSet presAssocID="{04BD4A56-321B-4451-9A45-EDCA492FBE4F}" presName="vertThree" presStyleCnt="0"/>
      <dgm:spPr/>
    </dgm:pt>
    <dgm:pt modelId="{CED59201-E658-428A-8FED-4D52BBB450FE}" type="pres">
      <dgm:prSet presAssocID="{04BD4A56-321B-4451-9A45-EDCA492FBE4F}" presName="txThree" presStyleLbl="node3" presStyleIdx="2" presStyleCnt="4">
        <dgm:presLayoutVars>
          <dgm:chPref val="3"/>
        </dgm:presLayoutVars>
      </dgm:prSet>
      <dgm:spPr/>
    </dgm:pt>
    <dgm:pt modelId="{226FFC0B-093E-414E-8BC5-9C71C5F9179E}" type="pres">
      <dgm:prSet presAssocID="{04BD4A56-321B-4451-9A45-EDCA492FBE4F}" presName="horzThree" presStyleCnt="0"/>
      <dgm:spPr/>
    </dgm:pt>
    <dgm:pt modelId="{7575AF93-E351-4C8B-9653-CCCACE90173E}" type="pres">
      <dgm:prSet presAssocID="{0F14845E-06A1-44EB-B953-29C7988DE8F4}" presName="sibSpaceThree" presStyleCnt="0"/>
      <dgm:spPr/>
    </dgm:pt>
    <dgm:pt modelId="{379FD393-71AE-4AE5-9C15-F644044848AB}" type="pres">
      <dgm:prSet presAssocID="{17516D36-8372-48CD-A7F7-290DD51E4048}" presName="vertThree" presStyleCnt="0"/>
      <dgm:spPr/>
    </dgm:pt>
    <dgm:pt modelId="{3A2A95E3-A790-45FA-86BD-BA6500D51E69}" type="pres">
      <dgm:prSet presAssocID="{17516D36-8372-48CD-A7F7-290DD51E4048}" presName="txThree" presStyleLbl="node3" presStyleIdx="3" presStyleCnt="4">
        <dgm:presLayoutVars>
          <dgm:chPref val="3"/>
        </dgm:presLayoutVars>
      </dgm:prSet>
      <dgm:spPr/>
    </dgm:pt>
    <dgm:pt modelId="{9B0D28D9-7D57-499D-B8DD-7D59CA189184}" type="pres">
      <dgm:prSet presAssocID="{17516D36-8372-48CD-A7F7-290DD51E4048}" presName="horzThree" presStyleCnt="0"/>
      <dgm:spPr/>
    </dgm:pt>
    <dgm:pt modelId="{F497B00A-0A30-4A83-8926-C468ACD9631E}" type="pres">
      <dgm:prSet presAssocID="{969942CE-8990-4AAB-AC4E-E65E469C3728}" presName="sibSpaceTwo" presStyleCnt="0"/>
      <dgm:spPr/>
    </dgm:pt>
    <dgm:pt modelId="{EF7BC4EB-410A-457A-8C1F-1E694BA99E23}" type="pres">
      <dgm:prSet presAssocID="{6D48B578-83B9-409C-ABBC-63B301E32089}" presName="vertTwo" presStyleCnt="0"/>
      <dgm:spPr/>
    </dgm:pt>
    <dgm:pt modelId="{3EB81D22-FEE7-4688-9521-B5DB78F14AD7}" type="pres">
      <dgm:prSet presAssocID="{6D48B578-83B9-409C-ABBC-63B301E32089}" presName="txTwo" presStyleLbl="node2" presStyleIdx="2" presStyleCnt="3" custScaleY="206997">
        <dgm:presLayoutVars>
          <dgm:chPref val="3"/>
        </dgm:presLayoutVars>
      </dgm:prSet>
      <dgm:spPr/>
    </dgm:pt>
    <dgm:pt modelId="{D922805A-6684-493F-AD38-D528BB400A85}" type="pres">
      <dgm:prSet presAssocID="{6D48B578-83B9-409C-ABBC-63B301E32089}" presName="horzTwo" presStyleCnt="0"/>
      <dgm:spPr/>
    </dgm:pt>
  </dgm:ptLst>
  <dgm:cxnLst>
    <dgm:cxn modelId="{60AD39C5-66E6-408A-99E5-66B22B790F90}" srcId="{39C412BD-81C6-4ED4-AA8F-95D4EDA224C3}" destId="{660A9DB3-2254-47DB-B5AE-1B386CCA8B8C}" srcOrd="0" destOrd="0" parTransId="{1673C3BC-9B1B-4225-9183-05A655D55025}" sibTransId="{114C9E45-EF14-4F34-B273-FDC09C8AEFBB}"/>
    <dgm:cxn modelId="{2C31ABF6-B235-43CF-801D-4208FE19FC4F}" type="presOf" srcId="{17516D36-8372-48CD-A7F7-290DD51E4048}" destId="{3A2A95E3-A790-45FA-86BD-BA6500D51E69}" srcOrd="0" destOrd="0" presId="urn:microsoft.com/office/officeart/2005/8/layout/hierarchy4"/>
    <dgm:cxn modelId="{6A34D55A-1E30-40D4-81D1-BC92B555253B}" srcId="{660A9DB3-2254-47DB-B5AE-1B386CCA8B8C}" destId="{41E9ECB5-C847-44BF-81F8-E1489F6A7D80}" srcOrd="0" destOrd="0" parTransId="{EEB315E8-8563-4812-8EE9-C2E46F541D98}" sibTransId="{5E0D6707-D1F8-4E99-9D35-6C84DA7F44B2}"/>
    <dgm:cxn modelId="{745D96FC-F92B-4BF8-B485-DEA5A9886F91}" type="presOf" srcId="{98CC11D6-F54B-4E54-8FFA-0AF1632CAECE}" destId="{CE45B45B-D9BB-4BFD-B922-11F1267C0517}" srcOrd="0" destOrd="0" presId="urn:microsoft.com/office/officeart/2005/8/layout/hierarchy4"/>
    <dgm:cxn modelId="{8624276C-D0A9-42E0-8BF2-9D77D336ACCE}" srcId="{7412040D-16ED-4342-AD8F-A2F718A01DD8}" destId="{17516D36-8372-48CD-A7F7-290DD51E4048}" srcOrd="1" destOrd="0" parTransId="{DD233B56-5284-4145-951A-5707A55C9AA7}" sibTransId="{4CBE88A6-9C11-4079-AEB0-242373182181}"/>
    <dgm:cxn modelId="{DDE808D4-BEDB-45E3-B6D5-6E3B09D2CC38}" type="presOf" srcId="{F6F75A31-2938-4C94-BD6B-678B632E17C3}" destId="{B9326CE8-ABE9-4575-A47F-5D68B507E09D}" srcOrd="0" destOrd="0" presId="urn:microsoft.com/office/officeart/2005/8/layout/hierarchy4"/>
    <dgm:cxn modelId="{CF5B093B-5DAE-4AD5-9EF1-4E2A35BC295C}" type="presOf" srcId="{39C412BD-81C6-4ED4-AA8F-95D4EDA224C3}" destId="{64C34942-C776-474F-8B4F-F06C7234D21E}" srcOrd="0" destOrd="0" presId="urn:microsoft.com/office/officeart/2005/8/layout/hierarchy4"/>
    <dgm:cxn modelId="{1136F962-12A0-4640-90C2-9E163EB3AC16}" srcId="{7412040D-16ED-4342-AD8F-A2F718A01DD8}" destId="{04BD4A56-321B-4451-9A45-EDCA492FBE4F}" srcOrd="0" destOrd="0" parTransId="{E88874A5-0B9C-4E22-92F7-914ECF76783C}" sibTransId="{0F14845E-06A1-44EB-B953-29C7988DE8F4}"/>
    <dgm:cxn modelId="{3FFCAFEC-9338-48A6-BBFD-98130C208566}" srcId="{660A9DB3-2254-47DB-B5AE-1B386CCA8B8C}" destId="{6D48B578-83B9-409C-ABBC-63B301E32089}" srcOrd="2" destOrd="0" parTransId="{B951A2BA-6150-4288-BEDF-48E14BE65FAB}" sibTransId="{4C313398-2114-4610-810B-25958121A05C}"/>
    <dgm:cxn modelId="{E4EBE029-1F21-402F-9603-A07983CCB03A}" srcId="{41E9ECB5-C847-44BF-81F8-E1489F6A7D80}" destId="{F6F75A31-2938-4C94-BD6B-678B632E17C3}" srcOrd="1" destOrd="0" parTransId="{A66D3092-152F-4F2C-8B7B-4A4BB142AE17}" sibTransId="{A2E6E70A-AC74-421F-B618-803E1380DAE9}"/>
    <dgm:cxn modelId="{F57079A6-152F-46C5-B0C2-F2F2EB2EB2F9}" type="presOf" srcId="{41E9ECB5-C847-44BF-81F8-E1489F6A7D80}" destId="{D73CC9D0-0007-47A9-8FB7-AF8C2BEE618C}" srcOrd="0" destOrd="0" presId="urn:microsoft.com/office/officeart/2005/8/layout/hierarchy4"/>
    <dgm:cxn modelId="{06976FA1-DEEE-4BDB-9505-B04C50F5741D}" type="presOf" srcId="{04BD4A56-321B-4451-9A45-EDCA492FBE4F}" destId="{CED59201-E658-428A-8FED-4D52BBB450FE}" srcOrd="0" destOrd="0" presId="urn:microsoft.com/office/officeart/2005/8/layout/hierarchy4"/>
    <dgm:cxn modelId="{4B7EEAF8-AC93-4F82-A62D-D910D03037C5}" type="presOf" srcId="{7412040D-16ED-4342-AD8F-A2F718A01DD8}" destId="{926DEE54-47FF-42AE-B416-111D6920DD15}" srcOrd="0" destOrd="0" presId="urn:microsoft.com/office/officeart/2005/8/layout/hierarchy4"/>
    <dgm:cxn modelId="{EB2B0356-2677-42A0-9855-2628851C88AC}" srcId="{660A9DB3-2254-47DB-B5AE-1B386CCA8B8C}" destId="{7412040D-16ED-4342-AD8F-A2F718A01DD8}" srcOrd="1" destOrd="0" parTransId="{7FC5FFB1-4B07-48AE-8148-47C3DD9BD908}" sibTransId="{969942CE-8990-4AAB-AC4E-E65E469C3728}"/>
    <dgm:cxn modelId="{8554DA31-576D-4F44-B46C-24A7DEA7F071}" srcId="{41E9ECB5-C847-44BF-81F8-E1489F6A7D80}" destId="{98CC11D6-F54B-4E54-8FFA-0AF1632CAECE}" srcOrd="0" destOrd="0" parTransId="{6CC6DE4E-726B-44B1-A010-EB29B006B5C1}" sibTransId="{973A002A-6E21-4143-AB22-56C9F4CE7D4E}"/>
    <dgm:cxn modelId="{6B874F8E-975A-4067-908E-337BA66ABB17}" type="presOf" srcId="{660A9DB3-2254-47DB-B5AE-1B386CCA8B8C}" destId="{B93C73CE-EEA3-41B4-A9EB-8674E9ADC764}" srcOrd="0" destOrd="0" presId="urn:microsoft.com/office/officeart/2005/8/layout/hierarchy4"/>
    <dgm:cxn modelId="{B717B9F6-8A88-42A5-B8E5-E608849B22C9}" type="presOf" srcId="{6D48B578-83B9-409C-ABBC-63B301E32089}" destId="{3EB81D22-FEE7-4688-9521-B5DB78F14AD7}" srcOrd="0" destOrd="0" presId="urn:microsoft.com/office/officeart/2005/8/layout/hierarchy4"/>
    <dgm:cxn modelId="{186FAA22-954F-4079-9DFA-FD6307A6C78D}" type="presParOf" srcId="{64C34942-C776-474F-8B4F-F06C7234D21E}" destId="{10DFD3E2-7918-4EE0-A465-1EC58C456BD7}" srcOrd="0" destOrd="0" presId="urn:microsoft.com/office/officeart/2005/8/layout/hierarchy4"/>
    <dgm:cxn modelId="{EA46308F-1C6F-4BA6-906B-AD90417DEA4D}" type="presParOf" srcId="{10DFD3E2-7918-4EE0-A465-1EC58C456BD7}" destId="{B93C73CE-EEA3-41B4-A9EB-8674E9ADC764}" srcOrd="0" destOrd="0" presId="urn:microsoft.com/office/officeart/2005/8/layout/hierarchy4"/>
    <dgm:cxn modelId="{0F6659C9-C0D6-4674-9CA3-7CD91881364D}" type="presParOf" srcId="{10DFD3E2-7918-4EE0-A465-1EC58C456BD7}" destId="{1FB0C091-F218-48B3-BFC1-1FC3EC3A8F30}" srcOrd="1" destOrd="0" presId="urn:microsoft.com/office/officeart/2005/8/layout/hierarchy4"/>
    <dgm:cxn modelId="{9676FC88-918A-421C-80DE-73DFEEC3BCEE}" type="presParOf" srcId="{10DFD3E2-7918-4EE0-A465-1EC58C456BD7}" destId="{41C87C8B-5F8E-4D4C-B2F8-A2A234EC5874}" srcOrd="2" destOrd="0" presId="urn:microsoft.com/office/officeart/2005/8/layout/hierarchy4"/>
    <dgm:cxn modelId="{FB8D5810-472F-44C8-AE96-F5788B0C351E}" type="presParOf" srcId="{41C87C8B-5F8E-4D4C-B2F8-A2A234EC5874}" destId="{2A0CD1B5-00EA-4F32-A1BE-B2F575AFF123}" srcOrd="0" destOrd="0" presId="urn:microsoft.com/office/officeart/2005/8/layout/hierarchy4"/>
    <dgm:cxn modelId="{BAF50024-EEA9-4EF8-B884-D23649F23289}" type="presParOf" srcId="{2A0CD1B5-00EA-4F32-A1BE-B2F575AFF123}" destId="{D73CC9D0-0007-47A9-8FB7-AF8C2BEE618C}" srcOrd="0" destOrd="0" presId="urn:microsoft.com/office/officeart/2005/8/layout/hierarchy4"/>
    <dgm:cxn modelId="{9584B06B-9175-4820-B3C8-AE8320C8CD91}" type="presParOf" srcId="{2A0CD1B5-00EA-4F32-A1BE-B2F575AFF123}" destId="{BBEF71DB-4AFC-4106-B783-12D5FD50BC1C}" srcOrd="1" destOrd="0" presId="urn:microsoft.com/office/officeart/2005/8/layout/hierarchy4"/>
    <dgm:cxn modelId="{3B2DFF79-5123-4EE8-829B-6E8F65613F90}" type="presParOf" srcId="{2A0CD1B5-00EA-4F32-A1BE-B2F575AFF123}" destId="{677409DC-6B21-4572-877B-D97F9CEF2B12}" srcOrd="2" destOrd="0" presId="urn:microsoft.com/office/officeart/2005/8/layout/hierarchy4"/>
    <dgm:cxn modelId="{8D5CD028-BC69-4709-9323-511C743C70A5}" type="presParOf" srcId="{677409DC-6B21-4572-877B-D97F9CEF2B12}" destId="{70BB0E3B-0808-4C20-AA5C-03B7D58BCD56}" srcOrd="0" destOrd="0" presId="urn:microsoft.com/office/officeart/2005/8/layout/hierarchy4"/>
    <dgm:cxn modelId="{186FB2B9-5B37-403F-9467-AE848F0D5A02}" type="presParOf" srcId="{70BB0E3B-0808-4C20-AA5C-03B7D58BCD56}" destId="{CE45B45B-D9BB-4BFD-B922-11F1267C0517}" srcOrd="0" destOrd="0" presId="urn:microsoft.com/office/officeart/2005/8/layout/hierarchy4"/>
    <dgm:cxn modelId="{8F8AED63-34D0-421C-83AB-CFFBFF30F433}" type="presParOf" srcId="{70BB0E3B-0808-4C20-AA5C-03B7D58BCD56}" destId="{A35D073B-2C17-40FC-97A8-0230F615CD4A}" srcOrd="1" destOrd="0" presId="urn:microsoft.com/office/officeart/2005/8/layout/hierarchy4"/>
    <dgm:cxn modelId="{D9FED6E8-8DDE-4A4E-8002-FA693B2CFE4A}" type="presParOf" srcId="{677409DC-6B21-4572-877B-D97F9CEF2B12}" destId="{5FF5A719-2BE2-4209-8177-42CFB4879DD2}" srcOrd="1" destOrd="0" presId="urn:microsoft.com/office/officeart/2005/8/layout/hierarchy4"/>
    <dgm:cxn modelId="{87C5C561-B92B-4840-B902-2D05C30496B2}" type="presParOf" srcId="{677409DC-6B21-4572-877B-D97F9CEF2B12}" destId="{A1FBBDEC-4F7F-4A06-81B1-494A8A8D2FAF}" srcOrd="2" destOrd="0" presId="urn:microsoft.com/office/officeart/2005/8/layout/hierarchy4"/>
    <dgm:cxn modelId="{28A26EB1-89FD-4149-B17A-A51704B98F78}" type="presParOf" srcId="{A1FBBDEC-4F7F-4A06-81B1-494A8A8D2FAF}" destId="{B9326CE8-ABE9-4575-A47F-5D68B507E09D}" srcOrd="0" destOrd="0" presId="urn:microsoft.com/office/officeart/2005/8/layout/hierarchy4"/>
    <dgm:cxn modelId="{995F0FBD-BE22-40F1-B341-24E79D04D805}" type="presParOf" srcId="{A1FBBDEC-4F7F-4A06-81B1-494A8A8D2FAF}" destId="{52B5B9FA-B021-4F06-87CC-3A878166DD89}" srcOrd="1" destOrd="0" presId="urn:microsoft.com/office/officeart/2005/8/layout/hierarchy4"/>
    <dgm:cxn modelId="{AFA79DBA-5D6E-409C-8FB4-2D5542CEE9E6}" type="presParOf" srcId="{41C87C8B-5F8E-4D4C-B2F8-A2A234EC5874}" destId="{17675D64-7035-42CC-BD78-5E86240BFB4C}" srcOrd="1" destOrd="0" presId="urn:microsoft.com/office/officeart/2005/8/layout/hierarchy4"/>
    <dgm:cxn modelId="{8CBCDB89-BB5A-485F-9401-4453DA018B28}" type="presParOf" srcId="{41C87C8B-5F8E-4D4C-B2F8-A2A234EC5874}" destId="{168C9B73-21E5-42EA-8188-D48AC8C67620}" srcOrd="2" destOrd="0" presId="urn:microsoft.com/office/officeart/2005/8/layout/hierarchy4"/>
    <dgm:cxn modelId="{16708AA8-1C1E-430B-83E4-7C82CFBD55AA}" type="presParOf" srcId="{168C9B73-21E5-42EA-8188-D48AC8C67620}" destId="{926DEE54-47FF-42AE-B416-111D6920DD15}" srcOrd="0" destOrd="0" presId="urn:microsoft.com/office/officeart/2005/8/layout/hierarchy4"/>
    <dgm:cxn modelId="{14637AF6-F8A4-4E82-BE45-6399BBB7C3F0}" type="presParOf" srcId="{168C9B73-21E5-42EA-8188-D48AC8C67620}" destId="{2C77F3B1-D310-4C0A-BA7D-C2ACAB4F88E7}" srcOrd="1" destOrd="0" presId="urn:microsoft.com/office/officeart/2005/8/layout/hierarchy4"/>
    <dgm:cxn modelId="{756D57BE-41F3-4725-95A3-092110CEEF07}" type="presParOf" srcId="{168C9B73-21E5-42EA-8188-D48AC8C67620}" destId="{E61CC9BC-A264-4FFC-B8B5-63378FECFE70}" srcOrd="2" destOrd="0" presId="urn:microsoft.com/office/officeart/2005/8/layout/hierarchy4"/>
    <dgm:cxn modelId="{7638598F-2EE7-421F-AE23-CFAF29B2F117}" type="presParOf" srcId="{E61CC9BC-A264-4FFC-B8B5-63378FECFE70}" destId="{49871FD5-B3F3-4DF4-B7F4-D586543BA6F9}" srcOrd="0" destOrd="0" presId="urn:microsoft.com/office/officeart/2005/8/layout/hierarchy4"/>
    <dgm:cxn modelId="{4B697C43-2DC3-435B-B3F5-03A09D13FD95}" type="presParOf" srcId="{49871FD5-B3F3-4DF4-B7F4-D586543BA6F9}" destId="{CED59201-E658-428A-8FED-4D52BBB450FE}" srcOrd="0" destOrd="0" presId="urn:microsoft.com/office/officeart/2005/8/layout/hierarchy4"/>
    <dgm:cxn modelId="{18EAC3D4-E319-4769-860F-0AC93F522076}" type="presParOf" srcId="{49871FD5-B3F3-4DF4-B7F4-D586543BA6F9}" destId="{226FFC0B-093E-414E-8BC5-9C71C5F9179E}" srcOrd="1" destOrd="0" presId="urn:microsoft.com/office/officeart/2005/8/layout/hierarchy4"/>
    <dgm:cxn modelId="{A77ABF80-78FF-48AE-BF7F-F83614723F8D}" type="presParOf" srcId="{E61CC9BC-A264-4FFC-B8B5-63378FECFE70}" destId="{7575AF93-E351-4C8B-9653-CCCACE90173E}" srcOrd="1" destOrd="0" presId="urn:microsoft.com/office/officeart/2005/8/layout/hierarchy4"/>
    <dgm:cxn modelId="{F789B0EB-BF16-4E22-944E-BFCD28444794}" type="presParOf" srcId="{E61CC9BC-A264-4FFC-B8B5-63378FECFE70}" destId="{379FD393-71AE-4AE5-9C15-F644044848AB}" srcOrd="2" destOrd="0" presId="urn:microsoft.com/office/officeart/2005/8/layout/hierarchy4"/>
    <dgm:cxn modelId="{10F514E5-71DB-4699-90AE-41FC6069EAB4}" type="presParOf" srcId="{379FD393-71AE-4AE5-9C15-F644044848AB}" destId="{3A2A95E3-A790-45FA-86BD-BA6500D51E69}" srcOrd="0" destOrd="0" presId="urn:microsoft.com/office/officeart/2005/8/layout/hierarchy4"/>
    <dgm:cxn modelId="{88DC9EBD-7227-4320-A766-45C502408219}" type="presParOf" srcId="{379FD393-71AE-4AE5-9C15-F644044848AB}" destId="{9B0D28D9-7D57-499D-B8DD-7D59CA189184}" srcOrd="1" destOrd="0" presId="urn:microsoft.com/office/officeart/2005/8/layout/hierarchy4"/>
    <dgm:cxn modelId="{D094E95F-276D-4A03-B5E3-F2A0CA7212CF}" type="presParOf" srcId="{41C87C8B-5F8E-4D4C-B2F8-A2A234EC5874}" destId="{F497B00A-0A30-4A83-8926-C468ACD9631E}" srcOrd="3" destOrd="0" presId="urn:microsoft.com/office/officeart/2005/8/layout/hierarchy4"/>
    <dgm:cxn modelId="{B2BD47BF-BDB5-4BDE-B5A3-655F250E1593}" type="presParOf" srcId="{41C87C8B-5F8E-4D4C-B2F8-A2A234EC5874}" destId="{EF7BC4EB-410A-457A-8C1F-1E694BA99E23}" srcOrd="4" destOrd="0" presId="urn:microsoft.com/office/officeart/2005/8/layout/hierarchy4"/>
    <dgm:cxn modelId="{7F7A2F11-FE24-41E0-97D5-FD190C2B400A}" type="presParOf" srcId="{EF7BC4EB-410A-457A-8C1F-1E694BA99E23}" destId="{3EB81D22-FEE7-4688-9521-B5DB78F14AD7}" srcOrd="0" destOrd="0" presId="urn:microsoft.com/office/officeart/2005/8/layout/hierarchy4"/>
    <dgm:cxn modelId="{221C69D3-1538-4541-8A06-F87C6494675D}" type="presParOf" srcId="{EF7BC4EB-410A-457A-8C1F-1E694BA99E23}" destId="{D922805A-6684-493F-AD38-D528BB400A85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D2EE7C9-F6AD-4414-9EFC-B461FFD5BD51}" type="doc">
      <dgm:prSet loTypeId="urn:microsoft.com/office/officeart/2005/8/layout/hProcess9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2AF09EB7-0E7E-4894-AA56-3580105B7BC1}">
      <dgm:prSet phldrT="[Text]"/>
      <dgm:spPr/>
      <dgm:t>
        <a:bodyPr/>
        <a:lstStyle/>
        <a:p>
          <a:r>
            <a:rPr lang="en-US" dirty="0"/>
            <a:t>Methodology</a:t>
          </a:r>
        </a:p>
      </dgm:t>
    </dgm:pt>
    <dgm:pt modelId="{76C5CB26-3B5A-4312-8698-F0A604108B59}" type="parTrans" cxnId="{124B2BA2-9AC9-45C2-BAA6-3849E2571D2B}">
      <dgm:prSet/>
      <dgm:spPr/>
      <dgm:t>
        <a:bodyPr/>
        <a:lstStyle/>
        <a:p>
          <a:endParaRPr lang="en-US"/>
        </a:p>
      </dgm:t>
    </dgm:pt>
    <dgm:pt modelId="{63631D55-1336-4509-A74B-63422102D192}" type="sibTrans" cxnId="{124B2BA2-9AC9-45C2-BAA6-3849E2571D2B}">
      <dgm:prSet/>
      <dgm:spPr/>
      <dgm:t>
        <a:bodyPr/>
        <a:lstStyle/>
        <a:p>
          <a:endParaRPr lang="en-US"/>
        </a:p>
      </dgm:t>
    </dgm:pt>
    <dgm:pt modelId="{36D3B5A9-8915-4576-B941-3B04A00881AD}">
      <dgm:prSet phldrT="[Text]"/>
      <dgm:spPr/>
      <dgm:t>
        <a:bodyPr/>
        <a:lstStyle/>
        <a:p>
          <a:r>
            <a:rPr lang="en-US" dirty="0"/>
            <a:t>Testing Guide</a:t>
          </a:r>
        </a:p>
      </dgm:t>
    </dgm:pt>
    <dgm:pt modelId="{8A3E142E-D615-4772-8C6D-8FA13F49A5CE}" type="parTrans" cxnId="{0545623A-D9AF-473B-A9DB-ED58249426A7}">
      <dgm:prSet/>
      <dgm:spPr/>
      <dgm:t>
        <a:bodyPr/>
        <a:lstStyle/>
        <a:p>
          <a:endParaRPr lang="en-US"/>
        </a:p>
      </dgm:t>
    </dgm:pt>
    <dgm:pt modelId="{28E6CFE0-41F4-487C-9C37-29EEAF710AEA}" type="sibTrans" cxnId="{0545623A-D9AF-473B-A9DB-ED58249426A7}">
      <dgm:prSet/>
      <dgm:spPr/>
      <dgm:t>
        <a:bodyPr/>
        <a:lstStyle/>
        <a:p>
          <a:endParaRPr lang="en-US"/>
        </a:p>
      </dgm:t>
    </dgm:pt>
    <dgm:pt modelId="{1EB8B5B4-5724-4022-9253-EB3C8C5272DF}">
      <dgm:prSet phldrT="[Text]"/>
      <dgm:spPr/>
      <dgm:t>
        <a:bodyPr/>
        <a:lstStyle/>
        <a:p>
          <a:r>
            <a:rPr lang="en-US" dirty="0"/>
            <a:t>PCI DSS Requirement 6.5</a:t>
          </a:r>
        </a:p>
      </dgm:t>
    </dgm:pt>
    <dgm:pt modelId="{8BCC0E61-4A19-4E03-9C28-97D5232141D0}" type="parTrans" cxnId="{3C4068C6-71A6-408C-AB7A-2AD4A0F05F2D}">
      <dgm:prSet/>
      <dgm:spPr/>
      <dgm:t>
        <a:bodyPr/>
        <a:lstStyle/>
        <a:p>
          <a:endParaRPr lang="en-US"/>
        </a:p>
      </dgm:t>
    </dgm:pt>
    <dgm:pt modelId="{22A83BF7-BB6E-4645-9A20-8A0D6EE30B89}" type="sibTrans" cxnId="{3C4068C6-71A6-408C-AB7A-2AD4A0F05F2D}">
      <dgm:prSet/>
      <dgm:spPr/>
      <dgm:t>
        <a:bodyPr/>
        <a:lstStyle/>
        <a:p>
          <a:endParaRPr lang="en-US"/>
        </a:p>
      </dgm:t>
    </dgm:pt>
    <dgm:pt modelId="{473340F8-2B0D-40DA-83EF-64C1990B29E2}">
      <dgm:prSet phldrT="[Text]"/>
      <dgm:spPr/>
      <dgm:t>
        <a:bodyPr/>
        <a:lstStyle/>
        <a:p>
          <a:r>
            <a:rPr lang="en-US"/>
            <a:t>PCI DSS Penetration Testing Guidance</a:t>
          </a:r>
          <a:endParaRPr lang="en-US" dirty="0"/>
        </a:p>
      </dgm:t>
    </dgm:pt>
    <dgm:pt modelId="{3A2B3330-6D2A-49E7-BA26-6A49D60D478B}" type="parTrans" cxnId="{39DF9676-B0BC-4EF8-A274-89C748477071}">
      <dgm:prSet/>
      <dgm:spPr/>
      <dgm:t>
        <a:bodyPr/>
        <a:lstStyle/>
        <a:p>
          <a:endParaRPr lang="en-US"/>
        </a:p>
      </dgm:t>
    </dgm:pt>
    <dgm:pt modelId="{BAD99D39-5D59-4128-9B41-94524A367E8F}" type="sibTrans" cxnId="{39DF9676-B0BC-4EF8-A274-89C748477071}">
      <dgm:prSet/>
      <dgm:spPr/>
      <dgm:t>
        <a:bodyPr/>
        <a:lstStyle/>
        <a:p>
          <a:endParaRPr lang="en-US"/>
        </a:p>
      </dgm:t>
    </dgm:pt>
    <dgm:pt modelId="{3F433234-2704-43B0-85DE-5EF94D813AF3}">
      <dgm:prSet/>
      <dgm:spPr/>
      <dgm:t>
        <a:bodyPr/>
        <a:lstStyle/>
        <a:p>
          <a:r>
            <a:rPr lang="en-US" dirty="0"/>
            <a:t>NIST Special Publication 800-115</a:t>
          </a:r>
        </a:p>
      </dgm:t>
    </dgm:pt>
    <dgm:pt modelId="{C0A79034-8000-43B2-A795-FBA94379281A}" type="parTrans" cxnId="{937E25AE-6C8D-4E65-A3AA-5FC99964CD92}">
      <dgm:prSet/>
      <dgm:spPr/>
      <dgm:t>
        <a:bodyPr/>
        <a:lstStyle/>
        <a:p>
          <a:endParaRPr lang="en-US"/>
        </a:p>
      </dgm:t>
    </dgm:pt>
    <dgm:pt modelId="{9D2BB092-6A8B-40EA-8241-9D4F72D04360}" type="sibTrans" cxnId="{937E25AE-6C8D-4E65-A3AA-5FC99964CD92}">
      <dgm:prSet/>
      <dgm:spPr/>
      <dgm:t>
        <a:bodyPr/>
        <a:lstStyle/>
        <a:p>
          <a:endParaRPr lang="en-US"/>
        </a:p>
      </dgm:t>
    </dgm:pt>
    <dgm:pt modelId="{81E2D9B1-F2D6-4344-9F7B-1897FC6C7471}">
      <dgm:prSet/>
      <dgm:spPr/>
      <dgm:t>
        <a:bodyPr/>
        <a:lstStyle/>
        <a:p>
          <a:r>
            <a:rPr lang="en-US" dirty="0"/>
            <a:t>Open Source Security Testing Methodology Manual</a:t>
          </a:r>
        </a:p>
      </dgm:t>
    </dgm:pt>
    <dgm:pt modelId="{BD6E4D6C-8ADF-49E2-9A71-8358D695C916}" type="parTrans" cxnId="{A0C6BB65-F10A-480B-B1AB-276C0AE2AE13}">
      <dgm:prSet/>
      <dgm:spPr/>
      <dgm:t>
        <a:bodyPr/>
        <a:lstStyle/>
        <a:p>
          <a:endParaRPr lang="en-US"/>
        </a:p>
      </dgm:t>
    </dgm:pt>
    <dgm:pt modelId="{607D4CE2-93E5-43BC-B015-C1D555E9916B}" type="sibTrans" cxnId="{A0C6BB65-F10A-480B-B1AB-276C0AE2AE13}">
      <dgm:prSet/>
      <dgm:spPr/>
      <dgm:t>
        <a:bodyPr/>
        <a:lstStyle/>
        <a:p>
          <a:endParaRPr lang="en-US"/>
        </a:p>
      </dgm:t>
    </dgm:pt>
    <dgm:pt modelId="{3374A789-3DD2-49A3-94B7-3D64FF3CA6BB}">
      <dgm:prSet phldrT="[Text]"/>
      <dgm:spPr/>
      <dgm:t>
        <a:bodyPr/>
        <a:lstStyle/>
        <a:p>
          <a:r>
            <a:rPr lang="en-US" dirty="0"/>
            <a:t>Open Source Security Testing Methodology Manual (“OSSTMM”)</a:t>
          </a:r>
        </a:p>
      </dgm:t>
    </dgm:pt>
    <dgm:pt modelId="{DCEC2D84-8A04-41BF-A9D2-7DE9E6F2E5A4}" type="parTrans" cxnId="{7F4EF5A3-6E6B-4E7F-B49A-58C374A32649}">
      <dgm:prSet/>
      <dgm:spPr/>
      <dgm:t>
        <a:bodyPr/>
        <a:lstStyle/>
        <a:p>
          <a:endParaRPr lang="en-US"/>
        </a:p>
      </dgm:t>
    </dgm:pt>
    <dgm:pt modelId="{BCCDAF89-7A1F-48BE-BA3E-E684C65CCF3F}" type="sibTrans" cxnId="{7F4EF5A3-6E6B-4E7F-B49A-58C374A32649}">
      <dgm:prSet/>
      <dgm:spPr/>
      <dgm:t>
        <a:bodyPr/>
        <a:lstStyle/>
        <a:p>
          <a:endParaRPr lang="en-US"/>
        </a:p>
      </dgm:t>
    </dgm:pt>
    <dgm:pt modelId="{B988D8C6-A705-4606-8399-071FF7CD323B}">
      <dgm:prSet/>
      <dgm:spPr/>
      <dgm:t>
        <a:bodyPr/>
        <a:lstStyle/>
        <a:p>
          <a:r>
            <a:rPr lang="en-US" dirty="0"/>
            <a:t>OWASP Testing Guide</a:t>
          </a:r>
        </a:p>
      </dgm:t>
    </dgm:pt>
    <dgm:pt modelId="{03CE7368-CF1F-4FF6-BFD3-D4F3CC73F634}" type="parTrans" cxnId="{D4B33747-F5EA-41D7-82E2-AA3AF3F6A157}">
      <dgm:prSet/>
      <dgm:spPr/>
      <dgm:t>
        <a:bodyPr/>
        <a:lstStyle/>
        <a:p>
          <a:endParaRPr lang="en-US"/>
        </a:p>
      </dgm:t>
    </dgm:pt>
    <dgm:pt modelId="{4B97FC51-4A2F-4237-A73A-4252B89311B2}" type="sibTrans" cxnId="{D4B33747-F5EA-41D7-82E2-AA3AF3F6A157}">
      <dgm:prSet/>
      <dgm:spPr/>
      <dgm:t>
        <a:bodyPr/>
        <a:lstStyle/>
        <a:p>
          <a:endParaRPr lang="en-US"/>
        </a:p>
      </dgm:t>
    </dgm:pt>
    <dgm:pt modelId="{806F7F67-A676-4727-BE77-8C240DA44EB3}">
      <dgm:prSet/>
      <dgm:spPr/>
      <dgm:t>
        <a:bodyPr/>
        <a:lstStyle/>
        <a:p>
          <a:r>
            <a:rPr lang="en-US" dirty="0"/>
            <a:t>Penetration Testing Execution Standard</a:t>
          </a:r>
        </a:p>
      </dgm:t>
    </dgm:pt>
    <dgm:pt modelId="{C27005AD-8A7A-4ABF-8567-E9D0591CE06D}" type="parTrans" cxnId="{4C918907-4CFC-4086-88F1-E04F87FCCB4B}">
      <dgm:prSet/>
      <dgm:spPr/>
      <dgm:t>
        <a:bodyPr/>
        <a:lstStyle/>
        <a:p>
          <a:endParaRPr lang="en-US"/>
        </a:p>
      </dgm:t>
    </dgm:pt>
    <dgm:pt modelId="{58F59B43-8115-475E-B66E-9A3F14092927}" type="sibTrans" cxnId="{4C918907-4CFC-4086-88F1-E04F87FCCB4B}">
      <dgm:prSet/>
      <dgm:spPr/>
      <dgm:t>
        <a:bodyPr/>
        <a:lstStyle/>
        <a:p>
          <a:endParaRPr lang="en-US"/>
        </a:p>
      </dgm:t>
    </dgm:pt>
    <dgm:pt modelId="{02AEA2EA-B3C6-4C60-99BB-F6E2176144B1}">
      <dgm:prSet/>
      <dgm:spPr/>
      <dgm:t>
        <a:bodyPr/>
        <a:lstStyle/>
        <a:p>
          <a:r>
            <a:rPr lang="en-US" dirty="0"/>
            <a:t>Penetration Testing Framework</a:t>
          </a:r>
        </a:p>
      </dgm:t>
    </dgm:pt>
    <dgm:pt modelId="{C7036311-B938-47F9-8BBD-E0F54B314333}" type="parTrans" cxnId="{944A15D8-6491-42DE-A73D-885C8AB2909C}">
      <dgm:prSet/>
      <dgm:spPr/>
      <dgm:t>
        <a:bodyPr/>
        <a:lstStyle/>
        <a:p>
          <a:endParaRPr lang="en-US"/>
        </a:p>
      </dgm:t>
    </dgm:pt>
    <dgm:pt modelId="{CAF77140-F7F6-4D76-A0B2-AAE0632EF7D1}" type="sibTrans" cxnId="{944A15D8-6491-42DE-A73D-885C8AB2909C}">
      <dgm:prSet/>
      <dgm:spPr/>
      <dgm:t>
        <a:bodyPr/>
        <a:lstStyle/>
        <a:p>
          <a:endParaRPr lang="en-US"/>
        </a:p>
      </dgm:t>
    </dgm:pt>
    <dgm:pt modelId="{38348DF0-F3B1-4328-9144-FAC44E776DEF}">
      <dgm:prSet phldrT="[Text]"/>
      <dgm:spPr/>
      <dgm:t>
        <a:bodyPr/>
        <a:lstStyle/>
        <a:p>
          <a:r>
            <a:rPr lang="en-US"/>
            <a:t>Injection flaws 	</a:t>
          </a:r>
          <a:endParaRPr lang="en-US" dirty="0"/>
        </a:p>
      </dgm:t>
    </dgm:pt>
    <dgm:pt modelId="{6219AB3F-E4BE-475A-BC90-8E1C68C4FBC4}" type="parTrans" cxnId="{390AF7CF-1B5D-4EB7-B6D1-9A88C61470DB}">
      <dgm:prSet/>
      <dgm:spPr/>
      <dgm:t>
        <a:bodyPr/>
        <a:lstStyle/>
        <a:p>
          <a:endParaRPr lang="en-US"/>
        </a:p>
      </dgm:t>
    </dgm:pt>
    <dgm:pt modelId="{B6AE4059-BB92-4F59-90C0-4C85102AAC83}" type="sibTrans" cxnId="{390AF7CF-1B5D-4EB7-B6D1-9A88C61470DB}">
      <dgm:prSet/>
      <dgm:spPr/>
      <dgm:t>
        <a:bodyPr/>
        <a:lstStyle/>
        <a:p>
          <a:endParaRPr lang="en-US"/>
        </a:p>
      </dgm:t>
    </dgm:pt>
    <dgm:pt modelId="{B3D94B9C-B849-4B39-971D-37E22B802626}">
      <dgm:prSet/>
      <dgm:spPr/>
      <dgm:t>
        <a:bodyPr/>
        <a:lstStyle/>
        <a:p>
          <a:r>
            <a:rPr lang="en-US" dirty="0"/>
            <a:t>Insecure communications</a:t>
          </a:r>
        </a:p>
      </dgm:t>
    </dgm:pt>
    <dgm:pt modelId="{8A6B9FE7-1AF7-4D36-8A42-FE5238B4CA8B}" type="parTrans" cxnId="{7960130F-BA3A-47B4-BF5C-C400F54B5533}">
      <dgm:prSet/>
      <dgm:spPr/>
      <dgm:t>
        <a:bodyPr/>
        <a:lstStyle/>
        <a:p>
          <a:endParaRPr lang="en-US"/>
        </a:p>
      </dgm:t>
    </dgm:pt>
    <dgm:pt modelId="{8E8DBD0A-52D5-4427-BA70-AA9322D2E54B}" type="sibTrans" cxnId="{7960130F-BA3A-47B4-BF5C-C400F54B5533}">
      <dgm:prSet/>
      <dgm:spPr/>
      <dgm:t>
        <a:bodyPr/>
        <a:lstStyle/>
        <a:p>
          <a:endParaRPr lang="en-US"/>
        </a:p>
      </dgm:t>
    </dgm:pt>
    <dgm:pt modelId="{406D2676-1266-434A-8A97-22497A4C996F}">
      <dgm:prSet/>
      <dgm:spPr/>
      <dgm:t>
        <a:bodyPr/>
        <a:lstStyle/>
        <a:p>
          <a:r>
            <a:rPr lang="en-US" dirty="0"/>
            <a:t>Cross-site scripting (XSS)</a:t>
          </a:r>
        </a:p>
      </dgm:t>
    </dgm:pt>
    <dgm:pt modelId="{5FDAB0F5-E73D-4C03-9185-C53613A40DDC}" type="parTrans" cxnId="{3B558406-03E0-4046-BE9C-17BB7DC77A05}">
      <dgm:prSet/>
      <dgm:spPr/>
      <dgm:t>
        <a:bodyPr/>
        <a:lstStyle/>
        <a:p>
          <a:endParaRPr lang="en-US"/>
        </a:p>
      </dgm:t>
    </dgm:pt>
    <dgm:pt modelId="{7715F317-973C-4548-ADA1-1656B64A1928}" type="sibTrans" cxnId="{3B558406-03E0-4046-BE9C-17BB7DC77A05}">
      <dgm:prSet/>
      <dgm:spPr/>
      <dgm:t>
        <a:bodyPr/>
        <a:lstStyle/>
        <a:p>
          <a:endParaRPr lang="en-US"/>
        </a:p>
      </dgm:t>
    </dgm:pt>
    <dgm:pt modelId="{8F86F4F8-7043-4A27-9678-27E686F2474E}">
      <dgm:prSet/>
      <dgm:spPr/>
      <dgm:t>
        <a:bodyPr/>
        <a:lstStyle/>
        <a:p>
          <a:r>
            <a:rPr lang="en-US" dirty="0"/>
            <a:t>etc.</a:t>
          </a:r>
        </a:p>
      </dgm:t>
    </dgm:pt>
    <dgm:pt modelId="{BC7519D7-28C6-484C-87E2-3DA34161DADF}" type="parTrans" cxnId="{2DDACCD1-CF69-4471-AABC-F6CDFB1EA036}">
      <dgm:prSet/>
      <dgm:spPr/>
      <dgm:t>
        <a:bodyPr/>
        <a:lstStyle/>
        <a:p>
          <a:endParaRPr lang="en-US"/>
        </a:p>
      </dgm:t>
    </dgm:pt>
    <dgm:pt modelId="{9DF98B0D-069F-483A-8D58-75519484B712}" type="sibTrans" cxnId="{2DDACCD1-CF69-4471-AABC-F6CDFB1EA036}">
      <dgm:prSet/>
      <dgm:spPr/>
      <dgm:t>
        <a:bodyPr/>
        <a:lstStyle/>
        <a:p>
          <a:endParaRPr lang="en-US"/>
        </a:p>
      </dgm:t>
    </dgm:pt>
    <dgm:pt modelId="{ADF9FD29-5721-4A4C-884E-5914A3FA2C81}">
      <dgm:prSet/>
      <dgm:spPr/>
      <dgm:t>
        <a:bodyPr/>
        <a:lstStyle/>
        <a:p>
          <a:r>
            <a:rPr lang="en-US" dirty="0"/>
            <a:t>PCI DSS Requirement 11.3</a:t>
          </a:r>
        </a:p>
      </dgm:t>
    </dgm:pt>
    <dgm:pt modelId="{DB4DBF36-0A92-4124-AE26-9E07731C947E}" type="parTrans" cxnId="{076D7A48-BF9F-4645-A9A3-370F1163790B}">
      <dgm:prSet/>
      <dgm:spPr/>
      <dgm:t>
        <a:bodyPr/>
        <a:lstStyle/>
        <a:p>
          <a:endParaRPr lang="en-US"/>
        </a:p>
      </dgm:t>
    </dgm:pt>
    <dgm:pt modelId="{026EBBA0-4CCE-4065-9D28-11D77FAA5718}" type="sibTrans" cxnId="{076D7A48-BF9F-4645-A9A3-370F1163790B}">
      <dgm:prSet/>
      <dgm:spPr/>
      <dgm:t>
        <a:bodyPr/>
        <a:lstStyle/>
        <a:p>
          <a:endParaRPr lang="en-US"/>
        </a:p>
      </dgm:t>
    </dgm:pt>
    <dgm:pt modelId="{7045DAA9-4325-4E18-9175-8B4BE3A79BEE}">
      <dgm:prSet/>
      <dgm:spPr/>
      <dgm:t>
        <a:bodyPr/>
        <a:lstStyle/>
        <a:p>
          <a:r>
            <a:rPr lang="en-US"/>
            <a:t>Perform external penetration testing</a:t>
          </a:r>
          <a:endParaRPr lang="en-US" dirty="0"/>
        </a:p>
      </dgm:t>
    </dgm:pt>
    <dgm:pt modelId="{3103819A-5A32-4A20-9C84-1C874B760E8C}" type="parTrans" cxnId="{BE71151D-AE2C-4E64-AC15-0BD4E009147A}">
      <dgm:prSet/>
      <dgm:spPr/>
      <dgm:t>
        <a:bodyPr/>
        <a:lstStyle/>
        <a:p>
          <a:endParaRPr lang="en-US"/>
        </a:p>
      </dgm:t>
    </dgm:pt>
    <dgm:pt modelId="{A1040BAB-525F-4181-94E0-4D217C838C44}" type="sibTrans" cxnId="{BE71151D-AE2C-4E64-AC15-0BD4E009147A}">
      <dgm:prSet/>
      <dgm:spPr/>
      <dgm:t>
        <a:bodyPr/>
        <a:lstStyle/>
        <a:p>
          <a:endParaRPr lang="en-US"/>
        </a:p>
      </dgm:t>
    </dgm:pt>
    <dgm:pt modelId="{91065E19-B638-4953-A6A7-2A1E54F1B9A1}">
      <dgm:prSet/>
      <dgm:spPr/>
      <dgm:t>
        <a:bodyPr/>
        <a:lstStyle/>
        <a:p>
          <a:r>
            <a:rPr lang="en-US" dirty="0"/>
            <a:t>Perform internal penetration testing</a:t>
          </a:r>
        </a:p>
      </dgm:t>
    </dgm:pt>
    <dgm:pt modelId="{9728DFA0-5F31-44DF-AA34-F4BF08F24A34}" type="parTrans" cxnId="{2500F710-2F03-4B6D-AC46-754F356911FE}">
      <dgm:prSet/>
      <dgm:spPr/>
      <dgm:t>
        <a:bodyPr/>
        <a:lstStyle/>
        <a:p>
          <a:endParaRPr lang="en-US"/>
        </a:p>
      </dgm:t>
    </dgm:pt>
    <dgm:pt modelId="{34C6EC80-6CCB-4E41-85EA-81671C02E737}" type="sibTrans" cxnId="{2500F710-2F03-4B6D-AC46-754F356911FE}">
      <dgm:prSet/>
      <dgm:spPr/>
      <dgm:t>
        <a:bodyPr/>
        <a:lstStyle/>
        <a:p>
          <a:endParaRPr lang="en-US"/>
        </a:p>
      </dgm:t>
    </dgm:pt>
    <dgm:pt modelId="{4605F808-D637-4ED2-B933-557A6C83AF23}">
      <dgm:prSet/>
      <dgm:spPr/>
      <dgm:t>
        <a:bodyPr/>
        <a:lstStyle/>
        <a:p>
          <a:r>
            <a:rPr lang="en-US" dirty="0"/>
            <a:t>Verify segmentation methods</a:t>
          </a:r>
        </a:p>
      </dgm:t>
    </dgm:pt>
    <dgm:pt modelId="{ED2FFDEB-A7DB-4008-957C-5747697640DF}" type="parTrans" cxnId="{32A0BF72-8433-4D9F-B344-CEC13322FE12}">
      <dgm:prSet/>
      <dgm:spPr/>
      <dgm:t>
        <a:bodyPr/>
        <a:lstStyle/>
        <a:p>
          <a:endParaRPr lang="en-US"/>
        </a:p>
      </dgm:t>
    </dgm:pt>
    <dgm:pt modelId="{218DF7D2-683A-4B7E-A06B-284AC735B4F5}" type="sibTrans" cxnId="{32A0BF72-8433-4D9F-B344-CEC13322FE12}">
      <dgm:prSet/>
      <dgm:spPr/>
      <dgm:t>
        <a:bodyPr/>
        <a:lstStyle/>
        <a:p>
          <a:endParaRPr lang="en-US"/>
        </a:p>
      </dgm:t>
    </dgm:pt>
    <dgm:pt modelId="{64EDA514-AD9C-48F1-8024-490952D81CAB}">
      <dgm:prSet/>
      <dgm:spPr/>
      <dgm:t>
        <a:bodyPr/>
        <a:lstStyle/>
        <a:p>
          <a:r>
            <a:rPr lang="en-US"/>
            <a:t>Improper error handling</a:t>
          </a:r>
          <a:endParaRPr lang="en-US" dirty="0"/>
        </a:p>
      </dgm:t>
    </dgm:pt>
    <dgm:pt modelId="{62041716-3001-4CA0-999C-A4AE7011A86C}" type="parTrans" cxnId="{FD8E1AD5-75CE-446E-B0E9-A91DDFC758D2}">
      <dgm:prSet/>
      <dgm:spPr/>
      <dgm:t>
        <a:bodyPr/>
        <a:lstStyle/>
        <a:p>
          <a:endParaRPr lang="en-US"/>
        </a:p>
      </dgm:t>
    </dgm:pt>
    <dgm:pt modelId="{3A1983C6-A21E-4CC9-A84C-08FA43049481}" type="sibTrans" cxnId="{FD8E1AD5-75CE-446E-B0E9-A91DDFC758D2}">
      <dgm:prSet/>
      <dgm:spPr/>
      <dgm:t>
        <a:bodyPr/>
        <a:lstStyle/>
        <a:p>
          <a:endParaRPr lang="en-US"/>
        </a:p>
      </dgm:t>
    </dgm:pt>
    <dgm:pt modelId="{6B2D285C-2B4D-4867-99CA-047D352A74B1}">
      <dgm:prSet/>
      <dgm:spPr/>
      <dgm:t>
        <a:bodyPr/>
        <a:lstStyle/>
        <a:p>
          <a:r>
            <a:rPr lang="en-US"/>
            <a:t>Improper access control</a:t>
          </a:r>
          <a:endParaRPr lang="en-US" dirty="0"/>
        </a:p>
      </dgm:t>
    </dgm:pt>
    <dgm:pt modelId="{F06D7AEE-D027-4AD5-A4C9-9E1B0A195D62}" type="parTrans" cxnId="{43435F65-9547-4C64-8AAD-02195C916CC7}">
      <dgm:prSet/>
      <dgm:spPr/>
      <dgm:t>
        <a:bodyPr/>
        <a:lstStyle/>
        <a:p>
          <a:endParaRPr lang="en-US"/>
        </a:p>
      </dgm:t>
    </dgm:pt>
    <dgm:pt modelId="{6A7E6260-60B8-414F-B5D8-BC29BEDEEC0B}" type="sibTrans" cxnId="{43435F65-9547-4C64-8AAD-02195C916CC7}">
      <dgm:prSet/>
      <dgm:spPr/>
      <dgm:t>
        <a:bodyPr/>
        <a:lstStyle/>
        <a:p>
          <a:endParaRPr lang="en-US"/>
        </a:p>
      </dgm:t>
    </dgm:pt>
    <dgm:pt modelId="{0EB619F2-9506-4134-9D1A-6963983270A0}" type="pres">
      <dgm:prSet presAssocID="{6D2EE7C9-F6AD-4414-9EFC-B461FFD5BD51}" presName="CompostProcess" presStyleCnt="0">
        <dgm:presLayoutVars>
          <dgm:dir/>
          <dgm:resizeHandles val="exact"/>
        </dgm:presLayoutVars>
      </dgm:prSet>
      <dgm:spPr/>
    </dgm:pt>
    <dgm:pt modelId="{3913BC31-878D-40CD-B358-FCAF903A03E0}" type="pres">
      <dgm:prSet presAssocID="{6D2EE7C9-F6AD-4414-9EFC-B461FFD5BD51}" presName="arrow" presStyleLbl="bgShp" presStyleIdx="0" presStyleCnt="1"/>
      <dgm:spPr/>
    </dgm:pt>
    <dgm:pt modelId="{2AB18446-0A27-4A98-990F-3433EBC14E45}" type="pres">
      <dgm:prSet presAssocID="{6D2EE7C9-F6AD-4414-9EFC-B461FFD5BD51}" presName="linearProcess" presStyleCnt="0"/>
      <dgm:spPr/>
    </dgm:pt>
    <dgm:pt modelId="{F31B3F5B-F7F3-4221-9D09-848563FB3637}" type="pres">
      <dgm:prSet presAssocID="{2AF09EB7-0E7E-4894-AA56-3580105B7BC1}" presName="textNode" presStyleLbl="node1" presStyleIdx="0" presStyleCnt="4">
        <dgm:presLayoutVars>
          <dgm:bulletEnabled val="1"/>
        </dgm:presLayoutVars>
      </dgm:prSet>
      <dgm:spPr/>
    </dgm:pt>
    <dgm:pt modelId="{D2B63BF7-0D70-407C-B164-B172125177D4}" type="pres">
      <dgm:prSet presAssocID="{63631D55-1336-4509-A74B-63422102D192}" presName="sibTrans" presStyleCnt="0"/>
      <dgm:spPr/>
    </dgm:pt>
    <dgm:pt modelId="{852C0EA8-1873-45E8-9149-DF504EB140ED}" type="pres">
      <dgm:prSet presAssocID="{36D3B5A9-8915-4576-B941-3B04A00881AD}" presName="textNode" presStyleLbl="node1" presStyleIdx="1" presStyleCnt="4">
        <dgm:presLayoutVars>
          <dgm:bulletEnabled val="1"/>
        </dgm:presLayoutVars>
      </dgm:prSet>
      <dgm:spPr/>
    </dgm:pt>
    <dgm:pt modelId="{66BD9C02-2929-451F-8F0C-0CFE3A817F19}" type="pres">
      <dgm:prSet presAssocID="{28E6CFE0-41F4-487C-9C37-29EEAF710AEA}" presName="sibTrans" presStyleCnt="0"/>
      <dgm:spPr/>
    </dgm:pt>
    <dgm:pt modelId="{9AA5D645-A584-4C24-B8AB-4D81014CCDAA}" type="pres">
      <dgm:prSet presAssocID="{1EB8B5B4-5724-4022-9253-EB3C8C5272DF}" presName="textNode" presStyleLbl="node1" presStyleIdx="2" presStyleCnt="4">
        <dgm:presLayoutVars>
          <dgm:bulletEnabled val="1"/>
        </dgm:presLayoutVars>
      </dgm:prSet>
      <dgm:spPr/>
    </dgm:pt>
    <dgm:pt modelId="{7F9B4B75-3B42-4D06-8033-AD0A7A4A8D45}" type="pres">
      <dgm:prSet presAssocID="{22A83BF7-BB6E-4645-9A20-8A0D6EE30B89}" presName="sibTrans" presStyleCnt="0"/>
      <dgm:spPr/>
    </dgm:pt>
    <dgm:pt modelId="{C775BCB4-FE77-40F8-AE6B-0A7829A2CFF5}" type="pres">
      <dgm:prSet presAssocID="{ADF9FD29-5721-4A4C-884E-5914A3FA2C81}" presName="textNode" presStyleLbl="node1" presStyleIdx="3" presStyleCnt="4">
        <dgm:presLayoutVars>
          <dgm:bulletEnabled val="1"/>
        </dgm:presLayoutVars>
      </dgm:prSet>
      <dgm:spPr/>
    </dgm:pt>
  </dgm:ptLst>
  <dgm:cxnLst>
    <dgm:cxn modelId="{7960130F-BA3A-47B4-BF5C-C400F54B5533}" srcId="{1EB8B5B4-5724-4022-9253-EB3C8C5272DF}" destId="{B3D94B9C-B849-4B39-971D-37E22B802626}" srcOrd="1" destOrd="0" parTransId="{8A6B9FE7-1AF7-4D36-8A42-FE5238B4CA8B}" sibTransId="{8E8DBD0A-52D5-4427-BA70-AA9322D2E54B}"/>
    <dgm:cxn modelId="{FD8E1AD5-75CE-446E-B0E9-A91DDFC758D2}" srcId="{1EB8B5B4-5724-4022-9253-EB3C8C5272DF}" destId="{64EDA514-AD9C-48F1-8024-490952D81CAB}" srcOrd="2" destOrd="0" parTransId="{62041716-3001-4CA0-999C-A4AE7011A86C}" sibTransId="{3A1983C6-A21E-4CC9-A84C-08FA43049481}"/>
    <dgm:cxn modelId="{F6F3A350-D6EE-44A6-B634-8692A66D2AD2}" type="presOf" srcId="{3F433234-2704-43B0-85DE-5EF94D813AF3}" destId="{F31B3F5B-F7F3-4221-9D09-848563FB3637}" srcOrd="0" destOrd="2" presId="urn:microsoft.com/office/officeart/2005/8/layout/hProcess9"/>
    <dgm:cxn modelId="{2500F710-2F03-4B6D-AC46-754F356911FE}" srcId="{ADF9FD29-5721-4A4C-884E-5914A3FA2C81}" destId="{91065E19-B638-4953-A6A7-2A1E54F1B9A1}" srcOrd="1" destOrd="0" parTransId="{9728DFA0-5F31-44DF-AA34-F4BF08F24A34}" sibTransId="{34C6EC80-6CCB-4E41-85EA-81671C02E737}"/>
    <dgm:cxn modelId="{FDBD790C-4491-444A-BC37-7B37D35AD25E}" type="presOf" srcId="{6D2EE7C9-F6AD-4414-9EFC-B461FFD5BD51}" destId="{0EB619F2-9506-4134-9D1A-6963983270A0}" srcOrd="0" destOrd="0" presId="urn:microsoft.com/office/officeart/2005/8/layout/hProcess9"/>
    <dgm:cxn modelId="{076D7A48-BF9F-4645-A9A3-370F1163790B}" srcId="{6D2EE7C9-F6AD-4414-9EFC-B461FFD5BD51}" destId="{ADF9FD29-5721-4A4C-884E-5914A3FA2C81}" srcOrd="3" destOrd="0" parTransId="{DB4DBF36-0A92-4124-AE26-9E07731C947E}" sibTransId="{026EBBA0-4CCE-4065-9D28-11D77FAA5718}"/>
    <dgm:cxn modelId="{BE71151D-AE2C-4E64-AC15-0BD4E009147A}" srcId="{ADF9FD29-5721-4A4C-884E-5914A3FA2C81}" destId="{7045DAA9-4325-4E18-9175-8B4BE3A79BEE}" srcOrd="0" destOrd="0" parTransId="{3103819A-5A32-4A20-9C84-1C874B760E8C}" sibTransId="{A1040BAB-525F-4181-94E0-4D217C838C44}"/>
    <dgm:cxn modelId="{4C918907-4CFC-4086-88F1-E04F87FCCB4B}" srcId="{36D3B5A9-8915-4576-B941-3B04A00881AD}" destId="{806F7F67-A676-4727-BE77-8C240DA44EB3}" srcOrd="2" destOrd="0" parTransId="{C27005AD-8A7A-4ABF-8567-E9D0591CE06D}" sibTransId="{58F59B43-8115-475E-B66E-9A3F14092927}"/>
    <dgm:cxn modelId="{0C2F7FF2-B90A-4D0D-97A2-342FDE41F4A0}" type="presOf" srcId="{806F7F67-A676-4727-BE77-8C240DA44EB3}" destId="{852C0EA8-1873-45E8-9149-DF504EB140ED}" srcOrd="0" destOrd="3" presId="urn:microsoft.com/office/officeart/2005/8/layout/hProcess9"/>
    <dgm:cxn modelId="{F0E9C7AF-8A0A-4EBE-BD15-A9DFACF47F64}" type="presOf" srcId="{91065E19-B638-4953-A6A7-2A1E54F1B9A1}" destId="{C775BCB4-FE77-40F8-AE6B-0A7829A2CFF5}" srcOrd="0" destOrd="2" presId="urn:microsoft.com/office/officeart/2005/8/layout/hProcess9"/>
    <dgm:cxn modelId="{C93B5BC2-DF45-4CE0-B28D-4454C9C99D53}" type="presOf" srcId="{8F86F4F8-7043-4A27-9678-27E686F2474E}" destId="{9AA5D645-A584-4C24-B8AB-4D81014CCDAA}" srcOrd="0" destOrd="6" presId="urn:microsoft.com/office/officeart/2005/8/layout/hProcess9"/>
    <dgm:cxn modelId="{3C4068C6-71A6-408C-AB7A-2AD4A0F05F2D}" srcId="{6D2EE7C9-F6AD-4414-9EFC-B461FFD5BD51}" destId="{1EB8B5B4-5724-4022-9253-EB3C8C5272DF}" srcOrd="2" destOrd="0" parTransId="{8BCC0E61-4A19-4E03-9C28-97D5232141D0}" sibTransId="{22A83BF7-BB6E-4645-9A20-8A0D6EE30B89}"/>
    <dgm:cxn modelId="{BF658B12-5717-4454-9592-64FE374CA561}" type="presOf" srcId="{7045DAA9-4325-4E18-9175-8B4BE3A79BEE}" destId="{C775BCB4-FE77-40F8-AE6B-0A7829A2CFF5}" srcOrd="0" destOrd="1" presId="urn:microsoft.com/office/officeart/2005/8/layout/hProcess9"/>
    <dgm:cxn modelId="{2BE0778B-59B7-4E6A-AF29-65EF7BDE962A}" type="presOf" srcId="{36D3B5A9-8915-4576-B941-3B04A00881AD}" destId="{852C0EA8-1873-45E8-9149-DF504EB140ED}" srcOrd="0" destOrd="0" presId="urn:microsoft.com/office/officeart/2005/8/layout/hProcess9"/>
    <dgm:cxn modelId="{FE8BE5F8-1036-44A5-8B06-EAA5B772DF94}" type="presOf" srcId="{38348DF0-F3B1-4328-9144-FAC44E776DEF}" destId="{9AA5D645-A584-4C24-B8AB-4D81014CCDAA}" srcOrd="0" destOrd="1" presId="urn:microsoft.com/office/officeart/2005/8/layout/hProcess9"/>
    <dgm:cxn modelId="{00B8F987-2D1F-48CB-AA2C-06E754EDEC4E}" type="presOf" srcId="{6B2D285C-2B4D-4867-99CA-047D352A74B1}" destId="{9AA5D645-A584-4C24-B8AB-4D81014CCDAA}" srcOrd="0" destOrd="4" presId="urn:microsoft.com/office/officeart/2005/8/layout/hProcess9"/>
    <dgm:cxn modelId="{43435F65-9547-4C64-8AAD-02195C916CC7}" srcId="{1EB8B5B4-5724-4022-9253-EB3C8C5272DF}" destId="{6B2D285C-2B4D-4867-99CA-047D352A74B1}" srcOrd="3" destOrd="0" parTransId="{F06D7AEE-D027-4AD5-A4C9-9E1B0A195D62}" sibTransId="{6A7E6260-60B8-414F-B5D8-BC29BEDEEC0B}"/>
    <dgm:cxn modelId="{9691E1B7-A6EE-455B-863B-2E6EDB5BC1B7}" type="presOf" srcId="{B3D94B9C-B849-4B39-971D-37E22B802626}" destId="{9AA5D645-A584-4C24-B8AB-4D81014CCDAA}" srcOrd="0" destOrd="2" presId="urn:microsoft.com/office/officeart/2005/8/layout/hProcess9"/>
    <dgm:cxn modelId="{39DF9676-B0BC-4EF8-A274-89C748477071}" srcId="{2AF09EB7-0E7E-4894-AA56-3580105B7BC1}" destId="{473340F8-2B0D-40DA-83EF-64C1990B29E2}" srcOrd="0" destOrd="0" parTransId="{3A2B3330-6D2A-49E7-BA26-6A49D60D478B}" sibTransId="{BAD99D39-5D59-4128-9B41-94524A367E8F}"/>
    <dgm:cxn modelId="{43E51D9B-1AB7-409B-9C78-05B35877AC4D}" type="presOf" srcId="{3374A789-3DD2-49A3-94B7-3D64FF3CA6BB}" destId="{852C0EA8-1873-45E8-9149-DF504EB140ED}" srcOrd="0" destOrd="1" presId="urn:microsoft.com/office/officeart/2005/8/layout/hProcess9"/>
    <dgm:cxn modelId="{D69E1A0E-B678-4548-ACF4-56AA052DB18F}" type="presOf" srcId="{02AEA2EA-B3C6-4C60-99BB-F6E2176144B1}" destId="{852C0EA8-1873-45E8-9149-DF504EB140ED}" srcOrd="0" destOrd="4" presId="urn:microsoft.com/office/officeart/2005/8/layout/hProcess9"/>
    <dgm:cxn modelId="{D4B33747-F5EA-41D7-82E2-AA3AF3F6A157}" srcId="{36D3B5A9-8915-4576-B941-3B04A00881AD}" destId="{B988D8C6-A705-4606-8399-071FF7CD323B}" srcOrd="1" destOrd="0" parTransId="{03CE7368-CF1F-4FF6-BFD3-D4F3CC73F634}" sibTransId="{4B97FC51-4A2F-4237-A73A-4252B89311B2}"/>
    <dgm:cxn modelId="{0679079F-C95D-425E-AD67-87F472CB52BB}" type="presOf" srcId="{81E2D9B1-F2D6-4344-9F7B-1897FC6C7471}" destId="{F31B3F5B-F7F3-4221-9D09-848563FB3637}" srcOrd="0" destOrd="3" presId="urn:microsoft.com/office/officeart/2005/8/layout/hProcess9"/>
    <dgm:cxn modelId="{0C7D0E5B-471F-4A73-80FC-04AE38C49DD6}" type="presOf" srcId="{1EB8B5B4-5724-4022-9253-EB3C8C5272DF}" destId="{9AA5D645-A584-4C24-B8AB-4D81014CCDAA}" srcOrd="0" destOrd="0" presId="urn:microsoft.com/office/officeart/2005/8/layout/hProcess9"/>
    <dgm:cxn modelId="{390AF7CF-1B5D-4EB7-B6D1-9A88C61470DB}" srcId="{1EB8B5B4-5724-4022-9253-EB3C8C5272DF}" destId="{38348DF0-F3B1-4328-9144-FAC44E776DEF}" srcOrd="0" destOrd="0" parTransId="{6219AB3F-E4BE-475A-BC90-8E1C68C4FBC4}" sibTransId="{B6AE4059-BB92-4F59-90C0-4C85102AAC83}"/>
    <dgm:cxn modelId="{2734592A-A61B-4485-87C1-09201DB04246}" type="presOf" srcId="{4605F808-D637-4ED2-B933-557A6C83AF23}" destId="{C775BCB4-FE77-40F8-AE6B-0A7829A2CFF5}" srcOrd="0" destOrd="3" presId="urn:microsoft.com/office/officeart/2005/8/layout/hProcess9"/>
    <dgm:cxn modelId="{32A0BF72-8433-4D9F-B344-CEC13322FE12}" srcId="{ADF9FD29-5721-4A4C-884E-5914A3FA2C81}" destId="{4605F808-D637-4ED2-B933-557A6C83AF23}" srcOrd="2" destOrd="0" parTransId="{ED2FFDEB-A7DB-4008-957C-5747697640DF}" sibTransId="{218DF7D2-683A-4B7E-A06B-284AC735B4F5}"/>
    <dgm:cxn modelId="{31E24011-D04F-4006-8313-27433F9B7E91}" type="presOf" srcId="{2AF09EB7-0E7E-4894-AA56-3580105B7BC1}" destId="{F31B3F5B-F7F3-4221-9D09-848563FB3637}" srcOrd="0" destOrd="0" presId="urn:microsoft.com/office/officeart/2005/8/layout/hProcess9"/>
    <dgm:cxn modelId="{A0C6BB65-F10A-480B-B1AB-276C0AE2AE13}" srcId="{2AF09EB7-0E7E-4894-AA56-3580105B7BC1}" destId="{81E2D9B1-F2D6-4344-9F7B-1897FC6C7471}" srcOrd="2" destOrd="0" parTransId="{BD6E4D6C-8ADF-49E2-9A71-8358D695C916}" sibTransId="{607D4CE2-93E5-43BC-B015-C1D555E9916B}"/>
    <dgm:cxn modelId="{BB4F6CE3-93BC-403A-BBF5-32BA2B0624CA}" type="presOf" srcId="{406D2676-1266-434A-8A97-22497A4C996F}" destId="{9AA5D645-A584-4C24-B8AB-4D81014CCDAA}" srcOrd="0" destOrd="5" presId="urn:microsoft.com/office/officeart/2005/8/layout/hProcess9"/>
    <dgm:cxn modelId="{944A15D8-6491-42DE-A73D-885C8AB2909C}" srcId="{36D3B5A9-8915-4576-B941-3B04A00881AD}" destId="{02AEA2EA-B3C6-4C60-99BB-F6E2176144B1}" srcOrd="3" destOrd="0" parTransId="{C7036311-B938-47F9-8BBD-E0F54B314333}" sibTransId="{CAF77140-F7F6-4D76-A0B2-AAE0632EF7D1}"/>
    <dgm:cxn modelId="{0545623A-D9AF-473B-A9DB-ED58249426A7}" srcId="{6D2EE7C9-F6AD-4414-9EFC-B461FFD5BD51}" destId="{36D3B5A9-8915-4576-B941-3B04A00881AD}" srcOrd="1" destOrd="0" parTransId="{8A3E142E-D615-4772-8C6D-8FA13F49A5CE}" sibTransId="{28E6CFE0-41F4-487C-9C37-29EEAF710AEA}"/>
    <dgm:cxn modelId="{3B558406-03E0-4046-BE9C-17BB7DC77A05}" srcId="{1EB8B5B4-5724-4022-9253-EB3C8C5272DF}" destId="{406D2676-1266-434A-8A97-22497A4C996F}" srcOrd="4" destOrd="0" parTransId="{5FDAB0F5-E73D-4C03-9185-C53613A40DDC}" sibTransId="{7715F317-973C-4548-ADA1-1656B64A1928}"/>
    <dgm:cxn modelId="{AD7FD94A-4DCC-4EC2-B40B-DD886FC85A3E}" type="presOf" srcId="{473340F8-2B0D-40DA-83EF-64C1990B29E2}" destId="{F31B3F5B-F7F3-4221-9D09-848563FB3637}" srcOrd="0" destOrd="1" presId="urn:microsoft.com/office/officeart/2005/8/layout/hProcess9"/>
    <dgm:cxn modelId="{937E25AE-6C8D-4E65-A3AA-5FC99964CD92}" srcId="{2AF09EB7-0E7E-4894-AA56-3580105B7BC1}" destId="{3F433234-2704-43B0-85DE-5EF94D813AF3}" srcOrd="1" destOrd="0" parTransId="{C0A79034-8000-43B2-A795-FBA94379281A}" sibTransId="{9D2BB092-6A8B-40EA-8241-9D4F72D04360}"/>
    <dgm:cxn modelId="{F5F81A39-A08F-440C-83DD-C0DC3952182D}" type="presOf" srcId="{B988D8C6-A705-4606-8399-071FF7CD323B}" destId="{852C0EA8-1873-45E8-9149-DF504EB140ED}" srcOrd="0" destOrd="2" presId="urn:microsoft.com/office/officeart/2005/8/layout/hProcess9"/>
    <dgm:cxn modelId="{EDFD1583-C8E7-4FCA-A0FC-3E01830709B5}" type="presOf" srcId="{64EDA514-AD9C-48F1-8024-490952D81CAB}" destId="{9AA5D645-A584-4C24-B8AB-4D81014CCDAA}" srcOrd="0" destOrd="3" presId="urn:microsoft.com/office/officeart/2005/8/layout/hProcess9"/>
    <dgm:cxn modelId="{52BD58CA-AFEC-4A56-B462-82E04DC105AC}" type="presOf" srcId="{ADF9FD29-5721-4A4C-884E-5914A3FA2C81}" destId="{C775BCB4-FE77-40F8-AE6B-0A7829A2CFF5}" srcOrd="0" destOrd="0" presId="urn:microsoft.com/office/officeart/2005/8/layout/hProcess9"/>
    <dgm:cxn modelId="{2DDACCD1-CF69-4471-AABC-F6CDFB1EA036}" srcId="{1EB8B5B4-5724-4022-9253-EB3C8C5272DF}" destId="{8F86F4F8-7043-4A27-9678-27E686F2474E}" srcOrd="5" destOrd="0" parTransId="{BC7519D7-28C6-484C-87E2-3DA34161DADF}" sibTransId="{9DF98B0D-069F-483A-8D58-75519484B712}"/>
    <dgm:cxn modelId="{7F4EF5A3-6E6B-4E7F-B49A-58C374A32649}" srcId="{36D3B5A9-8915-4576-B941-3B04A00881AD}" destId="{3374A789-3DD2-49A3-94B7-3D64FF3CA6BB}" srcOrd="0" destOrd="0" parTransId="{DCEC2D84-8A04-41BF-A9D2-7DE9E6F2E5A4}" sibTransId="{BCCDAF89-7A1F-48BE-BA3E-E684C65CCF3F}"/>
    <dgm:cxn modelId="{124B2BA2-9AC9-45C2-BAA6-3849E2571D2B}" srcId="{6D2EE7C9-F6AD-4414-9EFC-B461FFD5BD51}" destId="{2AF09EB7-0E7E-4894-AA56-3580105B7BC1}" srcOrd="0" destOrd="0" parTransId="{76C5CB26-3B5A-4312-8698-F0A604108B59}" sibTransId="{63631D55-1336-4509-A74B-63422102D192}"/>
    <dgm:cxn modelId="{23B8FB34-2E20-489C-A6A0-DE577023EB2E}" type="presParOf" srcId="{0EB619F2-9506-4134-9D1A-6963983270A0}" destId="{3913BC31-878D-40CD-B358-FCAF903A03E0}" srcOrd="0" destOrd="0" presId="urn:microsoft.com/office/officeart/2005/8/layout/hProcess9"/>
    <dgm:cxn modelId="{D02DDE6F-3C75-42B9-9D94-B5662FAF403C}" type="presParOf" srcId="{0EB619F2-9506-4134-9D1A-6963983270A0}" destId="{2AB18446-0A27-4A98-990F-3433EBC14E45}" srcOrd="1" destOrd="0" presId="urn:microsoft.com/office/officeart/2005/8/layout/hProcess9"/>
    <dgm:cxn modelId="{ACE95E6C-3F67-412A-B51D-9D5E7439081B}" type="presParOf" srcId="{2AB18446-0A27-4A98-990F-3433EBC14E45}" destId="{F31B3F5B-F7F3-4221-9D09-848563FB3637}" srcOrd="0" destOrd="0" presId="urn:microsoft.com/office/officeart/2005/8/layout/hProcess9"/>
    <dgm:cxn modelId="{BD3F4E0E-1E34-48CF-BBA5-27CED40F98EE}" type="presParOf" srcId="{2AB18446-0A27-4A98-990F-3433EBC14E45}" destId="{D2B63BF7-0D70-407C-B164-B172125177D4}" srcOrd="1" destOrd="0" presId="urn:microsoft.com/office/officeart/2005/8/layout/hProcess9"/>
    <dgm:cxn modelId="{158D5E19-9974-4273-9D2A-654BDF3D4FBF}" type="presParOf" srcId="{2AB18446-0A27-4A98-990F-3433EBC14E45}" destId="{852C0EA8-1873-45E8-9149-DF504EB140ED}" srcOrd="2" destOrd="0" presId="urn:microsoft.com/office/officeart/2005/8/layout/hProcess9"/>
    <dgm:cxn modelId="{71E10781-B677-4164-8B01-28421C814828}" type="presParOf" srcId="{2AB18446-0A27-4A98-990F-3433EBC14E45}" destId="{66BD9C02-2929-451F-8F0C-0CFE3A817F19}" srcOrd="3" destOrd="0" presId="urn:microsoft.com/office/officeart/2005/8/layout/hProcess9"/>
    <dgm:cxn modelId="{D115A6DB-96A9-495E-B5DA-473F839E8D17}" type="presParOf" srcId="{2AB18446-0A27-4A98-990F-3433EBC14E45}" destId="{9AA5D645-A584-4C24-B8AB-4D81014CCDAA}" srcOrd="4" destOrd="0" presId="urn:microsoft.com/office/officeart/2005/8/layout/hProcess9"/>
    <dgm:cxn modelId="{2848F564-F12F-4AE9-AE74-AB373982CDF5}" type="presParOf" srcId="{2AB18446-0A27-4A98-990F-3433EBC14E45}" destId="{7F9B4B75-3B42-4D06-8033-AD0A7A4A8D45}" srcOrd="5" destOrd="0" presId="urn:microsoft.com/office/officeart/2005/8/layout/hProcess9"/>
    <dgm:cxn modelId="{4D73FC42-0664-4178-B7AC-D9119D98837C}" type="presParOf" srcId="{2AB18446-0A27-4A98-990F-3433EBC14E45}" destId="{C775BCB4-FE77-40F8-AE6B-0A7829A2CFF5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426EAA7-9DBC-4453-8524-87F46D7BEA2B}" type="doc">
      <dgm:prSet loTypeId="urn:microsoft.com/office/officeart/2005/8/layout/hList2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B6D68225-E05E-4DC8-B563-B922A9125A2F}">
      <dgm:prSet phldrT="[Text]"/>
      <dgm:spPr/>
      <dgm:t>
        <a:bodyPr/>
        <a:lstStyle/>
        <a:p>
          <a:r>
            <a:rPr lang="en-US" dirty="0"/>
            <a:t>A1 Injection</a:t>
          </a:r>
        </a:p>
      </dgm:t>
    </dgm:pt>
    <dgm:pt modelId="{AACEB4BE-F66B-437E-A135-7C57975B5165}" type="parTrans" cxnId="{B88DC47E-F607-4FC1-875F-A29D65247A64}">
      <dgm:prSet/>
      <dgm:spPr/>
      <dgm:t>
        <a:bodyPr/>
        <a:lstStyle/>
        <a:p>
          <a:endParaRPr lang="en-US"/>
        </a:p>
      </dgm:t>
    </dgm:pt>
    <dgm:pt modelId="{36238F16-0C74-4D45-B5A4-90D7DD70E103}" type="sibTrans" cxnId="{B88DC47E-F607-4FC1-875F-A29D65247A64}">
      <dgm:prSet/>
      <dgm:spPr/>
      <dgm:t>
        <a:bodyPr/>
        <a:lstStyle/>
        <a:p>
          <a:endParaRPr lang="en-US"/>
        </a:p>
      </dgm:t>
    </dgm:pt>
    <dgm:pt modelId="{58BC021F-75E5-42DA-BFEA-0E7B6D05EBC3}">
      <dgm:prSet phldrT="[Text]"/>
      <dgm:spPr/>
      <dgm:t>
        <a:bodyPr/>
        <a:lstStyle/>
        <a:p>
          <a:pPr algn="ctr"/>
          <a:r>
            <a:rPr lang="en-US" b="1" dirty="0"/>
            <a:t>PCI DSS Requirements</a:t>
          </a:r>
          <a:endParaRPr lang="en-US" dirty="0"/>
        </a:p>
      </dgm:t>
    </dgm:pt>
    <dgm:pt modelId="{CFCCBF58-1CD3-40BF-B38E-F2262FF77CE5}" type="parTrans" cxnId="{01AE2D53-28FA-425E-9C41-96C24B432C84}">
      <dgm:prSet/>
      <dgm:spPr/>
      <dgm:t>
        <a:bodyPr/>
        <a:lstStyle/>
        <a:p>
          <a:endParaRPr lang="en-US"/>
        </a:p>
      </dgm:t>
    </dgm:pt>
    <dgm:pt modelId="{664A9C4E-7D2A-4207-B449-912AFDA8D635}" type="sibTrans" cxnId="{01AE2D53-28FA-425E-9C41-96C24B432C84}">
      <dgm:prSet/>
      <dgm:spPr/>
      <dgm:t>
        <a:bodyPr/>
        <a:lstStyle/>
        <a:p>
          <a:endParaRPr lang="en-US"/>
        </a:p>
      </dgm:t>
    </dgm:pt>
    <dgm:pt modelId="{EE15ACD8-5C43-47EF-B4B7-6D5B7E5629EE}">
      <dgm:prSet phldrT="[Text]"/>
      <dgm:spPr/>
      <dgm:t>
        <a:bodyPr/>
        <a:lstStyle/>
        <a:p>
          <a:r>
            <a:rPr lang="en-US" dirty="0"/>
            <a:t>6.5.1 Injection flaws / 6.5.2 Buffer overflows</a:t>
          </a:r>
        </a:p>
      </dgm:t>
    </dgm:pt>
    <dgm:pt modelId="{0727D239-3C32-49E3-AF8B-D3CAEAAF97E8}" type="parTrans" cxnId="{767D3EAA-8B91-47AD-BA4D-EF0F73B921C2}">
      <dgm:prSet/>
      <dgm:spPr/>
      <dgm:t>
        <a:bodyPr/>
        <a:lstStyle/>
        <a:p>
          <a:endParaRPr lang="en-US"/>
        </a:p>
      </dgm:t>
    </dgm:pt>
    <dgm:pt modelId="{2FC1B6AF-E7E7-46BA-99FB-E4DEAAAB3F48}" type="sibTrans" cxnId="{767D3EAA-8B91-47AD-BA4D-EF0F73B921C2}">
      <dgm:prSet/>
      <dgm:spPr/>
      <dgm:t>
        <a:bodyPr/>
        <a:lstStyle/>
        <a:p>
          <a:endParaRPr lang="en-US"/>
        </a:p>
      </dgm:t>
    </dgm:pt>
    <dgm:pt modelId="{944132C9-2821-451A-A61F-3643137AC7E0}">
      <dgm:prSet/>
      <dgm:spPr/>
      <dgm:t>
        <a:bodyPr/>
        <a:lstStyle/>
        <a:p>
          <a:r>
            <a:rPr lang="en-US" dirty="0"/>
            <a:t>A2 Broken Authentication and Session Management</a:t>
          </a:r>
        </a:p>
      </dgm:t>
    </dgm:pt>
    <dgm:pt modelId="{915B5C0F-30B8-492D-9DBC-12750E8F59DE}" type="parTrans" cxnId="{E73D3FC0-4D5E-4B19-875D-3119C6AEB1AD}">
      <dgm:prSet/>
      <dgm:spPr/>
      <dgm:t>
        <a:bodyPr/>
        <a:lstStyle/>
        <a:p>
          <a:endParaRPr lang="en-US"/>
        </a:p>
      </dgm:t>
    </dgm:pt>
    <dgm:pt modelId="{54030971-BE61-4E9C-9C6C-ABCB963254A4}" type="sibTrans" cxnId="{E73D3FC0-4D5E-4B19-875D-3119C6AEB1AD}">
      <dgm:prSet/>
      <dgm:spPr/>
      <dgm:t>
        <a:bodyPr/>
        <a:lstStyle/>
        <a:p>
          <a:endParaRPr lang="en-US"/>
        </a:p>
      </dgm:t>
    </dgm:pt>
    <dgm:pt modelId="{98D8B558-D726-4939-8581-DE3CC01C9D2B}">
      <dgm:prSet/>
      <dgm:spPr/>
      <dgm:t>
        <a:bodyPr/>
        <a:lstStyle/>
        <a:p>
          <a:r>
            <a:rPr lang="en-US" dirty="0"/>
            <a:t>A3 Cross-Site Scripting (XSS)</a:t>
          </a:r>
        </a:p>
      </dgm:t>
    </dgm:pt>
    <dgm:pt modelId="{EF1533E0-B786-4FDE-BABE-436A82FDEEDB}" type="parTrans" cxnId="{AB3C7175-BF15-40D3-87F8-A48EC05A42CF}">
      <dgm:prSet/>
      <dgm:spPr/>
      <dgm:t>
        <a:bodyPr/>
        <a:lstStyle/>
        <a:p>
          <a:endParaRPr lang="en-US"/>
        </a:p>
      </dgm:t>
    </dgm:pt>
    <dgm:pt modelId="{EF9031DC-2EDD-4D1B-8A78-8542E94A32E0}" type="sibTrans" cxnId="{AB3C7175-BF15-40D3-87F8-A48EC05A42CF}">
      <dgm:prSet/>
      <dgm:spPr/>
      <dgm:t>
        <a:bodyPr/>
        <a:lstStyle/>
        <a:p>
          <a:endParaRPr lang="en-US"/>
        </a:p>
      </dgm:t>
    </dgm:pt>
    <dgm:pt modelId="{4294BBE0-E98D-4CD7-AA0B-1BA39BA02AD1}">
      <dgm:prSet/>
      <dgm:spPr/>
      <dgm:t>
        <a:bodyPr/>
        <a:lstStyle/>
        <a:p>
          <a:r>
            <a:rPr lang="en-US" dirty="0"/>
            <a:t>A4 Insecure Direct Object References</a:t>
          </a:r>
        </a:p>
      </dgm:t>
    </dgm:pt>
    <dgm:pt modelId="{2C511412-D4DA-402B-8D29-7A87A3F3E1D2}" type="parTrans" cxnId="{63FDA489-1126-4AEF-B200-29727CF2E505}">
      <dgm:prSet/>
      <dgm:spPr/>
      <dgm:t>
        <a:bodyPr/>
        <a:lstStyle/>
        <a:p>
          <a:endParaRPr lang="en-US"/>
        </a:p>
      </dgm:t>
    </dgm:pt>
    <dgm:pt modelId="{D3ABD38E-5ADF-43B2-B288-3EE7488CCD24}" type="sibTrans" cxnId="{63FDA489-1126-4AEF-B200-29727CF2E505}">
      <dgm:prSet/>
      <dgm:spPr/>
      <dgm:t>
        <a:bodyPr/>
        <a:lstStyle/>
        <a:p>
          <a:endParaRPr lang="en-US"/>
        </a:p>
      </dgm:t>
    </dgm:pt>
    <dgm:pt modelId="{3B933AA3-BDDE-40E4-8219-5F968E7D15E9}">
      <dgm:prSet/>
      <dgm:spPr/>
      <dgm:t>
        <a:bodyPr/>
        <a:lstStyle/>
        <a:p>
          <a:r>
            <a:rPr lang="en-US" dirty="0"/>
            <a:t>A5 Security Misconfiguration</a:t>
          </a:r>
        </a:p>
      </dgm:t>
    </dgm:pt>
    <dgm:pt modelId="{C89FC302-449B-4EC4-A6E4-CEFEDC9B2E5B}" type="parTrans" cxnId="{8E99ECA9-426C-4087-BB1E-729535FE42A0}">
      <dgm:prSet/>
      <dgm:spPr/>
      <dgm:t>
        <a:bodyPr/>
        <a:lstStyle/>
        <a:p>
          <a:endParaRPr lang="en-US"/>
        </a:p>
      </dgm:t>
    </dgm:pt>
    <dgm:pt modelId="{2D9C2B03-A1B7-49CA-96E1-F106F1DF35E8}" type="sibTrans" cxnId="{8E99ECA9-426C-4087-BB1E-729535FE42A0}">
      <dgm:prSet/>
      <dgm:spPr/>
      <dgm:t>
        <a:bodyPr/>
        <a:lstStyle/>
        <a:p>
          <a:endParaRPr lang="en-US"/>
        </a:p>
      </dgm:t>
    </dgm:pt>
    <dgm:pt modelId="{76BF9E05-0831-4883-B1D7-6BFF38CC5D1F}">
      <dgm:prSet/>
      <dgm:spPr/>
      <dgm:t>
        <a:bodyPr/>
        <a:lstStyle/>
        <a:p>
          <a:r>
            <a:rPr lang="en-US" dirty="0"/>
            <a:t>A6 Sensitive Data Exposure</a:t>
          </a:r>
        </a:p>
      </dgm:t>
    </dgm:pt>
    <dgm:pt modelId="{8ABDB102-4735-4E65-BAE5-48DEA8423DF8}" type="parTrans" cxnId="{1EAFDB48-7296-4331-899C-B5E5DF12A9A9}">
      <dgm:prSet/>
      <dgm:spPr/>
      <dgm:t>
        <a:bodyPr/>
        <a:lstStyle/>
        <a:p>
          <a:endParaRPr lang="en-US"/>
        </a:p>
      </dgm:t>
    </dgm:pt>
    <dgm:pt modelId="{D07DB03A-0537-4D97-8EAA-7C3535852BC5}" type="sibTrans" cxnId="{1EAFDB48-7296-4331-899C-B5E5DF12A9A9}">
      <dgm:prSet/>
      <dgm:spPr/>
      <dgm:t>
        <a:bodyPr/>
        <a:lstStyle/>
        <a:p>
          <a:endParaRPr lang="en-US"/>
        </a:p>
      </dgm:t>
    </dgm:pt>
    <dgm:pt modelId="{7732AB6B-8A4A-433E-8907-2BC8DD0A8558}">
      <dgm:prSet/>
      <dgm:spPr/>
      <dgm:t>
        <a:bodyPr/>
        <a:lstStyle/>
        <a:p>
          <a:r>
            <a:rPr lang="en-US" dirty="0"/>
            <a:t>A7 Missing Function Level Access Control</a:t>
          </a:r>
        </a:p>
      </dgm:t>
    </dgm:pt>
    <dgm:pt modelId="{FC21EAC2-4975-46E5-8BD1-049C8C58C528}" type="parTrans" cxnId="{73F17F83-ED2F-4AE2-88E9-DFA9DBF5E3EA}">
      <dgm:prSet/>
      <dgm:spPr/>
      <dgm:t>
        <a:bodyPr/>
        <a:lstStyle/>
        <a:p>
          <a:endParaRPr lang="en-US"/>
        </a:p>
      </dgm:t>
    </dgm:pt>
    <dgm:pt modelId="{96B697F7-36BF-4577-8E89-62D0F52DAB0B}" type="sibTrans" cxnId="{73F17F83-ED2F-4AE2-88E9-DFA9DBF5E3EA}">
      <dgm:prSet/>
      <dgm:spPr/>
      <dgm:t>
        <a:bodyPr/>
        <a:lstStyle/>
        <a:p>
          <a:endParaRPr lang="en-US"/>
        </a:p>
      </dgm:t>
    </dgm:pt>
    <dgm:pt modelId="{84D1E9F4-9B86-41E5-808B-8A2AE96BDE45}">
      <dgm:prSet/>
      <dgm:spPr/>
      <dgm:t>
        <a:bodyPr/>
        <a:lstStyle/>
        <a:p>
          <a:r>
            <a:rPr lang="en-US" dirty="0"/>
            <a:t>A8 Cross-Site Request Forgery (CSRF)</a:t>
          </a:r>
        </a:p>
      </dgm:t>
    </dgm:pt>
    <dgm:pt modelId="{65045697-24A0-4507-A052-D4E721568F19}" type="parTrans" cxnId="{188789C5-AFF4-426E-9D79-4B04E8D0AD7D}">
      <dgm:prSet/>
      <dgm:spPr/>
      <dgm:t>
        <a:bodyPr/>
        <a:lstStyle/>
        <a:p>
          <a:endParaRPr lang="en-US"/>
        </a:p>
      </dgm:t>
    </dgm:pt>
    <dgm:pt modelId="{E38D2455-7D8A-4E9D-B2D6-25C3CEE119AD}" type="sibTrans" cxnId="{188789C5-AFF4-426E-9D79-4B04E8D0AD7D}">
      <dgm:prSet/>
      <dgm:spPr/>
      <dgm:t>
        <a:bodyPr/>
        <a:lstStyle/>
        <a:p>
          <a:endParaRPr lang="en-US"/>
        </a:p>
      </dgm:t>
    </dgm:pt>
    <dgm:pt modelId="{8B5B8DFA-69F7-4ADA-B76F-1D0A8B6624E8}">
      <dgm:prSet/>
      <dgm:spPr/>
      <dgm:t>
        <a:bodyPr/>
        <a:lstStyle/>
        <a:p>
          <a:r>
            <a:rPr lang="en-US" dirty="0"/>
            <a:t>A9 Using Components with Known Vulnerabilities</a:t>
          </a:r>
        </a:p>
      </dgm:t>
    </dgm:pt>
    <dgm:pt modelId="{8A92A911-03B0-45DB-BE27-C3473E8E6F27}" type="parTrans" cxnId="{E7E96C54-9FC6-4880-9D3B-48C36B21FAF3}">
      <dgm:prSet/>
      <dgm:spPr/>
      <dgm:t>
        <a:bodyPr/>
        <a:lstStyle/>
        <a:p>
          <a:endParaRPr lang="en-US"/>
        </a:p>
      </dgm:t>
    </dgm:pt>
    <dgm:pt modelId="{793EAB47-4B1B-4D5E-B3C5-99C6344FAF05}" type="sibTrans" cxnId="{E7E96C54-9FC6-4880-9D3B-48C36B21FAF3}">
      <dgm:prSet/>
      <dgm:spPr/>
      <dgm:t>
        <a:bodyPr/>
        <a:lstStyle/>
        <a:p>
          <a:endParaRPr lang="en-US"/>
        </a:p>
      </dgm:t>
    </dgm:pt>
    <dgm:pt modelId="{E3A0045F-F0E5-4D05-9EA4-16C81E2B2142}">
      <dgm:prSet/>
      <dgm:spPr/>
      <dgm:t>
        <a:bodyPr/>
        <a:lstStyle/>
        <a:p>
          <a:r>
            <a:rPr lang="en-US" dirty="0"/>
            <a:t>A10 Invalidated Redirects and Forwards</a:t>
          </a:r>
        </a:p>
      </dgm:t>
    </dgm:pt>
    <dgm:pt modelId="{2A4CA76F-B98D-4D7D-A245-0C78275BE860}" type="parTrans" cxnId="{5994CE5A-7185-41AB-B0CB-1093E88F1326}">
      <dgm:prSet/>
      <dgm:spPr/>
      <dgm:t>
        <a:bodyPr/>
        <a:lstStyle/>
        <a:p>
          <a:endParaRPr lang="en-US"/>
        </a:p>
      </dgm:t>
    </dgm:pt>
    <dgm:pt modelId="{C1B3B8CB-0A26-4404-83CA-AED549204C93}" type="sibTrans" cxnId="{5994CE5A-7185-41AB-B0CB-1093E88F1326}">
      <dgm:prSet/>
      <dgm:spPr/>
      <dgm:t>
        <a:bodyPr/>
        <a:lstStyle/>
        <a:p>
          <a:endParaRPr lang="en-US"/>
        </a:p>
      </dgm:t>
    </dgm:pt>
    <dgm:pt modelId="{C623D1B5-7A8E-4E0C-AE81-650696BC8C04}">
      <dgm:prSet phldrT="[Text]"/>
      <dgm:spPr/>
      <dgm:t>
        <a:bodyPr/>
        <a:lstStyle/>
        <a:p>
          <a:pPr algn="ctr"/>
          <a:r>
            <a:rPr lang="en-US" b="1" dirty="0"/>
            <a:t>OWASP Top 10 2013</a:t>
          </a:r>
          <a:endParaRPr lang="en-US" dirty="0"/>
        </a:p>
      </dgm:t>
    </dgm:pt>
    <dgm:pt modelId="{DD1078BF-1DAD-41EC-90C1-CFC6EE8EC2CC}" type="parTrans" cxnId="{D2ECA9D8-73C8-492B-9CB2-FD27AE87FD7B}">
      <dgm:prSet/>
      <dgm:spPr/>
      <dgm:t>
        <a:bodyPr/>
        <a:lstStyle/>
        <a:p>
          <a:endParaRPr lang="en-US"/>
        </a:p>
      </dgm:t>
    </dgm:pt>
    <dgm:pt modelId="{BE64B1A7-AD9B-4678-B071-6775F7243111}" type="sibTrans" cxnId="{D2ECA9D8-73C8-492B-9CB2-FD27AE87FD7B}">
      <dgm:prSet/>
      <dgm:spPr/>
      <dgm:t>
        <a:bodyPr/>
        <a:lstStyle/>
        <a:p>
          <a:endParaRPr lang="en-US"/>
        </a:p>
      </dgm:t>
    </dgm:pt>
    <dgm:pt modelId="{D6443C2F-3C15-412B-89A9-A3E861D16EA3}">
      <dgm:prSet/>
      <dgm:spPr/>
      <dgm:t>
        <a:bodyPr/>
        <a:lstStyle/>
        <a:p>
          <a:r>
            <a:rPr lang="en-US" dirty="0"/>
            <a:t>6.5.10 Broken authentication and session management</a:t>
          </a:r>
        </a:p>
      </dgm:t>
    </dgm:pt>
    <dgm:pt modelId="{2E05A409-BF8B-4468-8490-13190845DDD8}" type="parTrans" cxnId="{0FE7EBCE-487D-43A6-A565-6CA5AF28A3DD}">
      <dgm:prSet/>
      <dgm:spPr/>
      <dgm:t>
        <a:bodyPr/>
        <a:lstStyle/>
        <a:p>
          <a:endParaRPr lang="en-US"/>
        </a:p>
      </dgm:t>
    </dgm:pt>
    <dgm:pt modelId="{B1985D1A-BDD2-4CFD-B4D6-A424C10DD743}" type="sibTrans" cxnId="{0FE7EBCE-487D-43A6-A565-6CA5AF28A3DD}">
      <dgm:prSet/>
      <dgm:spPr/>
      <dgm:t>
        <a:bodyPr/>
        <a:lstStyle/>
        <a:p>
          <a:endParaRPr lang="en-US"/>
        </a:p>
      </dgm:t>
    </dgm:pt>
    <dgm:pt modelId="{00882C58-234D-4D7C-A260-D54C08B236A7}">
      <dgm:prSet/>
      <dgm:spPr/>
      <dgm:t>
        <a:bodyPr/>
        <a:lstStyle/>
        <a:p>
          <a:r>
            <a:rPr lang="en-US" dirty="0"/>
            <a:t>6.5.7 XSS</a:t>
          </a:r>
        </a:p>
      </dgm:t>
    </dgm:pt>
    <dgm:pt modelId="{1A0E6415-F4F8-4B23-829F-2CA7C304149C}" type="parTrans" cxnId="{CDD98042-FBA1-4D6F-8119-E40F66B1E299}">
      <dgm:prSet/>
      <dgm:spPr/>
      <dgm:t>
        <a:bodyPr/>
        <a:lstStyle/>
        <a:p>
          <a:endParaRPr lang="en-US"/>
        </a:p>
      </dgm:t>
    </dgm:pt>
    <dgm:pt modelId="{DBE64916-4453-4429-AB0C-D3AC4E76BB2D}" type="sibTrans" cxnId="{CDD98042-FBA1-4D6F-8119-E40F66B1E299}">
      <dgm:prSet/>
      <dgm:spPr/>
      <dgm:t>
        <a:bodyPr/>
        <a:lstStyle/>
        <a:p>
          <a:endParaRPr lang="en-US"/>
        </a:p>
      </dgm:t>
    </dgm:pt>
    <dgm:pt modelId="{5FF4CDE8-D952-4367-8154-875ED570C61F}">
      <dgm:prSet/>
      <dgm:spPr/>
      <dgm:t>
        <a:bodyPr/>
        <a:lstStyle/>
        <a:p>
          <a:r>
            <a:rPr lang="en-US" dirty="0"/>
            <a:t>? -</a:t>
          </a:r>
        </a:p>
      </dgm:t>
    </dgm:pt>
    <dgm:pt modelId="{948BD107-BF06-4BD7-8FC4-DDA6AF56F8B8}" type="parTrans" cxnId="{AAE64E1C-D828-46F1-B64A-47784147DED3}">
      <dgm:prSet/>
      <dgm:spPr/>
      <dgm:t>
        <a:bodyPr/>
        <a:lstStyle/>
        <a:p>
          <a:endParaRPr lang="en-US"/>
        </a:p>
      </dgm:t>
    </dgm:pt>
    <dgm:pt modelId="{1D41727D-D92B-4B79-AED1-44ADB1A13A45}" type="sibTrans" cxnId="{AAE64E1C-D828-46F1-B64A-47784147DED3}">
      <dgm:prSet/>
      <dgm:spPr/>
      <dgm:t>
        <a:bodyPr/>
        <a:lstStyle/>
        <a:p>
          <a:endParaRPr lang="en-US"/>
        </a:p>
      </dgm:t>
    </dgm:pt>
    <dgm:pt modelId="{D537E6CD-F407-4FDE-BEAA-D96B543753BF}">
      <dgm:prSet/>
      <dgm:spPr/>
      <dgm:t>
        <a:bodyPr/>
        <a:lstStyle/>
        <a:p>
          <a:r>
            <a:rPr lang="en-US" dirty="0"/>
            <a:t>? 6.5.6 All “high risk” vulnerabilities</a:t>
          </a:r>
        </a:p>
      </dgm:t>
    </dgm:pt>
    <dgm:pt modelId="{91BDC2B0-D7BB-47A5-AE49-D4D4C4F677C6}" type="parTrans" cxnId="{3A5D9C6F-93D2-4846-9425-F2D971FABC86}">
      <dgm:prSet/>
      <dgm:spPr/>
      <dgm:t>
        <a:bodyPr/>
        <a:lstStyle/>
        <a:p>
          <a:endParaRPr lang="en-US"/>
        </a:p>
      </dgm:t>
    </dgm:pt>
    <dgm:pt modelId="{EA23DBE7-80D7-4614-B74E-70D213C7AC86}" type="sibTrans" cxnId="{3A5D9C6F-93D2-4846-9425-F2D971FABC86}">
      <dgm:prSet/>
      <dgm:spPr/>
      <dgm:t>
        <a:bodyPr/>
        <a:lstStyle/>
        <a:p>
          <a:endParaRPr lang="en-US"/>
        </a:p>
      </dgm:t>
    </dgm:pt>
    <dgm:pt modelId="{F5D8B092-3F73-42F0-884A-762472769BAD}">
      <dgm:prSet/>
      <dgm:spPr/>
      <dgm:t>
        <a:bodyPr/>
        <a:lstStyle/>
        <a:p>
          <a:r>
            <a:rPr lang="en-US" dirty="0"/>
            <a:t>? 6.5.5 Improper error handling</a:t>
          </a:r>
        </a:p>
      </dgm:t>
    </dgm:pt>
    <dgm:pt modelId="{B6D6852A-E457-45B8-B197-6922517C0F76}" type="parTrans" cxnId="{3093B175-4131-48D3-B07B-334F06AA671A}">
      <dgm:prSet/>
      <dgm:spPr/>
      <dgm:t>
        <a:bodyPr/>
        <a:lstStyle/>
        <a:p>
          <a:endParaRPr lang="en-US"/>
        </a:p>
      </dgm:t>
    </dgm:pt>
    <dgm:pt modelId="{4DC98638-D3F1-4EF0-A194-F544C15899CE}" type="sibTrans" cxnId="{3093B175-4131-48D3-B07B-334F06AA671A}">
      <dgm:prSet/>
      <dgm:spPr/>
      <dgm:t>
        <a:bodyPr/>
        <a:lstStyle/>
        <a:p>
          <a:endParaRPr lang="en-US"/>
        </a:p>
      </dgm:t>
    </dgm:pt>
    <dgm:pt modelId="{29743ACF-C60F-43ED-A2F4-A29B9A690583}">
      <dgm:prSet/>
      <dgm:spPr/>
      <dgm:t>
        <a:bodyPr/>
        <a:lstStyle/>
        <a:p>
          <a:r>
            <a:rPr lang="en-US" dirty="0"/>
            <a:t>6.5.8 Improper access control / 6.5.3 Insec. cryptostorage</a:t>
          </a:r>
        </a:p>
      </dgm:t>
    </dgm:pt>
    <dgm:pt modelId="{2613B22D-912B-42BA-94D4-D5F2257D3035}" type="parTrans" cxnId="{A5B06AA7-526A-4C63-BCF4-8A4AF56B6F40}">
      <dgm:prSet/>
      <dgm:spPr/>
      <dgm:t>
        <a:bodyPr/>
        <a:lstStyle/>
        <a:p>
          <a:endParaRPr lang="en-US"/>
        </a:p>
      </dgm:t>
    </dgm:pt>
    <dgm:pt modelId="{B83E1A3D-6930-4BAA-9502-0D198929EC7D}" type="sibTrans" cxnId="{A5B06AA7-526A-4C63-BCF4-8A4AF56B6F40}">
      <dgm:prSet/>
      <dgm:spPr/>
      <dgm:t>
        <a:bodyPr/>
        <a:lstStyle/>
        <a:p>
          <a:endParaRPr lang="en-US"/>
        </a:p>
      </dgm:t>
    </dgm:pt>
    <dgm:pt modelId="{9BB9E6C9-440B-4DE1-AF46-F3E2218FC24E}">
      <dgm:prSet/>
      <dgm:spPr/>
      <dgm:t>
        <a:bodyPr/>
        <a:lstStyle/>
        <a:p>
          <a:r>
            <a:rPr lang="en-US" dirty="0"/>
            <a:t>6.5.9 CSRF</a:t>
          </a:r>
        </a:p>
      </dgm:t>
    </dgm:pt>
    <dgm:pt modelId="{42B90A43-5C42-4AD8-A9CD-E9051A52A3C0}" type="parTrans" cxnId="{B641B406-CC46-46FF-B970-CF512F43100A}">
      <dgm:prSet/>
      <dgm:spPr/>
      <dgm:t>
        <a:bodyPr/>
        <a:lstStyle/>
        <a:p>
          <a:endParaRPr lang="en-US"/>
        </a:p>
      </dgm:t>
    </dgm:pt>
    <dgm:pt modelId="{37C92292-70DF-483D-8498-4050829BF80E}" type="sibTrans" cxnId="{B641B406-CC46-46FF-B970-CF512F43100A}">
      <dgm:prSet/>
      <dgm:spPr/>
      <dgm:t>
        <a:bodyPr/>
        <a:lstStyle/>
        <a:p>
          <a:endParaRPr lang="en-US"/>
        </a:p>
      </dgm:t>
    </dgm:pt>
    <dgm:pt modelId="{F381337C-6906-4307-B286-44336D4CEADC}">
      <dgm:prSet/>
      <dgm:spPr/>
      <dgm:t>
        <a:bodyPr/>
        <a:lstStyle/>
        <a:p>
          <a:r>
            <a:rPr lang="en-US" dirty="0"/>
            <a:t>6.5.6 All “high risk” vulnerabilities</a:t>
          </a:r>
        </a:p>
      </dgm:t>
    </dgm:pt>
    <dgm:pt modelId="{60D515CF-DE0E-431E-A9C8-5305F00F6B55}" type="parTrans" cxnId="{B42776A7-CA38-494B-B552-5975AA27B2FA}">
      <dgm:prSet/>
      <dgm:spPr/>
      <dgm:t>
        <a:bodyPr/>
        <a:lstStyle/>
        <a:p>
          <a:endParaRPr lang="en-US"/>
        </a:p>
      </dgm:t>
    </dgm:pt>
    <dgm:pt modelId="{A46D6686-617D-4817-8938-67989E7C6436}" type="sibTrans" cxnId="{B42776A7-CA38-494B-B552-5975AA27B2FA}">
      <dgm:prSet/>
      <dgm:spPr/>
      <dgm:t>
        <a:bodyPr/>
        <a:lstStyle/>
        <a:p>
          <a:endParaRPr lang="en-US"/>
        </a:p>
      </dgm:t>
    </dgm:pt>
    <dgm:pt modelId="{59594D1B-B282-4A29-A686-46A30DD496A4}">
      <dgm:prSet/>
      <dgm:spPr/>
      <dgm:t>
        <a:bodyPr/>
        <a:lstStyle/>
        <a:p>
          <a:r>
            <a:rPr lang="en-US" dirty="0"/>
            <a:t>? 6.5.4 Insecure communications </a:t>
          </a:r>
        </a:p>
      </dgm:t>
    </dgm:pt>
    <dgm:pt modelId="{78C2AC35-2781-4D95-B005-BE377031782F}" type="parTrans" cxnId="{0EEAC23D-CD0A-4508-8634-FDE13E6B2017}">
      <dgm:prSet/>
      <dgm:spPr/>
      <dgm:t>
        <a:bodyPr/>
        <a:lstStyle/>
        <a:p>
          <a:endParaRPr lang="en-US"/>
        </a:p>
      </dgm:t>
    </dgm:pt>
    <dgm:pt modelId="{71CF4523-2F8C-440D-9778-E5635B4F28AF}" type="sibTrans" cxnId="{0EEAC23D-CD0A-4508-8634-FDE13E6B2017}">
      <dgm:prSet/>
      <dgm:spPr/>
      <dgm:t>
        <a:bodyPr/>
        <a:lstStyle/>
        <a:p>
          <a:endParaRPr lang="en-US"/>
        </a:p>
      </dgm:t>
    </dgm:pt>
    <dgm:pt modelId="{670C4DEA-48F4-464F-A359-EE6426292327}">
      <dgm:prSet/>
      <dgm:spPr/>
      <dgm:t>
        <a:bodyPr/>
        <a:lstStyle/>
        <a:p>
          <a:endParaRPr lang="en-US" dirty="0"/>
        </a:p>
      </dgm:t>
    </dgm:pt>
    <dgm:pt modelId="{E5D1ADDD-0DA5-4B38-A798-D4F4E1BE506A}" type="parTrans" cxnId="{99E6D97D-AC7E-4DA4-ADEA-3A8F0B917E30}">
      <dgm:prSet/>
      <dgm:spPr/>
      <dgm:t>
        <a:bodyPr/>
        <a:lstStyle/>
        <a:p>
          <a:endParaRPr lang="en-US"/>
        </a:p>
      </dgm:t>
    </dgm:pt>
    <dgm:pt modelId="{EC9C7CBB-B409-4A90-BA1C-06C9044AE28B}" type="sibTrans" cxnId="{99E6D97D-AC7E-4DA4-ADEA-3A8F0B917E30}">
      <dgm:prSet/>
      <dgm:spPr/>
      <dgm:t>
        <a:bodyPr/>
        <a:lstStyle/>
        <a:p>
          <a:endParaRPr lang="en-US"/>
        </a:p>
      </dgm:t>
    </dgm:pt>
    <dgm:pt modelId="{3048936F-0409-4E30-A371-C2DFC09BE61E}" type="pres">
      <dgm:prSet presAssocID="{A426EAA7-9DBC-4453-8524-87F46D7BEA2B}" presName="linearFlow" presStyleCnt="0">
        <dgm:presLayoutVars>
          <dgm:dir/>
          <dgm:animLvl val="lvl"/>
          <dgm:resizeHandles/>
        </dgm:presLayoutVars>
      </dgm:prSet>
      <dgm:spPr/>
    </dgm:pt>
    <dgm:pt modelId="{EACD0BBD-F9B9-468E-91C4-D5A86FC0A813}" type="pres">
      <dgm:prSet presAssocID="{C623D1B5-7A8E-4E0C-AE81-650696BC8C04}" presName="compositeNode" presStyleCnt="0">
        <dgm:presLayoutVars>
          <dgm:bulletEnabled val="1"/>
        </dgm:presLayoutVars>
      </dgm:prSet>
      <dgm:spPr/>
    </dgm:pt>
    <dgm:pt modelId="{E99412FE-359D-416F-A98C-FEBAB47789C3}" type="pres">
      <dgm:prSet presAssocID="{C623D1B5-7A8E-4E0C-AE81-650696BC8C04}" presName="image" presStyleLbl="fgImgPlace1" presStyleIdx="0" presStyleCnt="2" custScaleX="64148" custScaleY="61944" custLinFactNeighborX="11564" custLinFactNeighborY="11106"/>
      <dgm:spPr>
        <a:blipFill dpi="0"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718" r="1718"/>
          </a:stretch>
        </a:blipFill>
        <a:ln>
          <a:noFill/>
        </a:ln>
      </dgm:spPr>
    </dgm:pt>
    <dgm:pt modelId="{D076E706-C203-4C83-8279-4698D26D0FE7}" type="pres">
      <dgm:prSet presAssocID="{C623D1B5-7A8E-4E0C-AE81-650696BC8C04}" presName="childNode" presStyleLbl="node1" presStyleIdx="0" presStyleCnt="2" custScaleX="118936" custLinFactNeighborX="3291" custLinFactNeighborY="-624">
        <dgm:presLayoutVars>
          <dgm:bulletEnabled val="1"/>
        </dgm:presLayoutVars>
      </dgm:prSet>
      <dgm:spPr/>
    </dgm:pt>
    <dgm:pt modelId="{43576A89-4A5F-46B0-96DB-4986FC88AF7B}" type="pres">
      <dgm:prSet presAssocID="{C623D1B5-7A8E-4E0C-AE81-650696BC8C04}" presName="parentNode" presStyleLbl="revTx" presStyleIdx="0" presStyleCnt="2">
        <dgm:presLayoutVars>
          <dgm:chMax val="0"/>
          <dgm:bulletEnabled val="1"/>
        </dgm:presLayoutVars>
      </dgm:prSet>
      <dgm:spPr/>
    </dgm:pt>
    <dgm:pt modelId="{FA35E034-0A8F-473A-8EC9-BCA24780A19C}" type="pres">
      <dgm:prSet presAssocID="{BE64B1A7-AD9B-4678-B071-6775F7243111}" presName="sibTrans" presStyleCnt="0"/>
      <dgm:spPr/>
    </dgm:pt>
    <dgm:pt modelId="{913B69B8-B96E-48F3-8190-CFA43C56CE6B}" type="pres">
      <dgm:prSet presAssocID="{58BC021F-75E5-42DA-BFEA-0E7B6D05EBC3}" presName="compositeNode" presStyleCnt="0">
        <dgm:presLayoutVars>
          <dgm:bulletEnabled val="1"/>
        </dgm:presLayoutVars>
      </dgm:prSet>
      <dgm:spPr/>
    </dgm:pt>
    <dgm:pt modelId="{B2581B85-CD8D-4403-9365-B51353989B73}" type="pres">
      <dgm:prSet presAssocID="{58BC021F-75E5-42DA-BFEA-0E7B6D05EBC3}" presName="image" presStyleLbl="fgImgPlace1" presStyleIdx="1" presStyleCnt="2" custScaleX="64148" custScaleY="61944" custLinFactNeighborX="-7336" custLinFactNeighborY="13148"/>
      <dgm:spPr>
        <a:blipFill>
          <a:blip xmlns:r="http://schemas.openxmlformats.org/officeDocument/2006/relationships" r:embed="rId2"/>
          <a:srcRect/>
          <a:stretch>
            <a:fillRect l="-14000" r="-14000"/>
          </a:stretch>
        </a:blipFill>
        <a:ln>
          <a:noFill/>
        </a:ln>
      </dgm:spPr>
    </dgm:pt>
    <dgm:pt modelId="{6F65E959-422D-474F-8756-16DF081662ED}" type="pres">
      <dgm:prSet presAssocID="{58BC021F-75E5-42DA-BFEA-0E7B6D05EBC3}" presName="childNode" presStyleLbl="node1" presStyleIdx="1" presStyleCnt="2" custScaleX="130811">
        <dgm:presLayoutVars>
          <dgm:bulletEnabled val="1"/>
        </dgm:presLayoutVars>
      </dgm:prSet>
      <dgm:spPr/>
    </dgm:pt>
    <dgm:pt modelId="{C743AF3E-5D58-45DC-BA3D-3670C3F7E2F2}" type="pres">
      <dgm:prSet presAssocID="{58BC021F-75E5-42DA-BFEA-0E7B6D05EBC3}" presName="parentNode" presStyleLbl="revTx" presStyleIdx="1" presStyleCnt="2" custLinFactNeighborX="-52152" custLinFactNeighborY="-832">
        <dgm:presLayoutVars>
          <dgm:chMax val="0"/>
          <dgm:bulletEnabled val="1"/>
        </dgm:presLayoutVars>
      </dgm:prSet>
      <dgm:spPr/>
    </dgm:pt>
  </dgm:ptLst>
  <dgm:cxnLst>
    <dgm:cxn modelId="{188789C5-AFF4-426E-9D79-4B04E8D0AD7D}" srcId="{C623D1B5-7A8E-4E0C-AE81-650696BC8C04}" destId="{84D1E9F4-9B86-41E5-808B-8A2AE96BDE45}" srcOrd="7" destOrd="0" parTransId="{65045697-24A0-4507-A052-D4E721568F19}" sibTransId="{E38D2455-7D8A-4E9D-B2D6-25C3CEE119AD}"/>
    <dgm:cxn modelId="{CDD98042-FBA1-4D6F-8119-E40F66B1E299}" srcId="{58BC021F-75E5-42DA-BFEA-0E7B6D05EBC3}" destId="{00882C58-234D-4D7C-A260-D54C08B236A7}" srcOrd="2" destOrd="0" parTransId="{1A0E6415-F4F8-4B23-829F-2CA7C304149C}" sibTransId="{DBE64916-4453-4429-AB0C-D3AC4E76BB2D}"/>
    <dgm:cxn modelId="{2413983D-1028-4ADB-90E7-7207D4B0E79B}" type="presOf" srcId="{29743ACF-C60F-43ED-A2F4-A29B9A690583}" destId="{6F65E959-422D-474F-8756-16DF081662ED}" srcOrd="0" destOrd="6" presId="urn:microsoft.com/office/officeart/2005/8/layout/hList2"/>
    <dgm:cxn modelId="{E73D3FC0-4D5E-4B19-875D-3119C6AEB1AD}" srcId="{C623D1B5-7A8E-4E0C-AE81-650696BC8C04}" destId="{944132C9-2821-451A-A61F-3643137AC7E0}" srcOrd="1" destOrd="0" parTransId="{915B5C0F-30B8-492D-9DBC-12750E8F59DE}" sibTransId="{54030971-BE61-4E9C-9C6C-ABCB963254A4}"/>
    <dgm:cxn modelId="{E7E96C54-9FC6-4880-9D3B-48C36B21FAF3}" srcId="{C623D1B5-7A8E-4E0C-AE81-650696BC8C04}" destId="{8B5B8DFA-69F7-4ADA-B76F-1D0A8B6624E8}" srcOrd="8" destOrd="0" parTransId="{8A92A911-03B0-45DB-BE27-C3473E8E6F27}" sibTransId="{793EAB47-4B1B-4D5E-B3C5-99C6344FAF05}"/>
    <dgm:cxn modelId="{D524E30B-9B5A-48A8-912A-AF1D61B603CC}" type="presOf" srcId="{98D8B558-D726-4939-8581-DE3CC01C9D2B}" destId="{D076E706-C203-4C83-8279-4698D26D0FE7}" srcOrd="0" destOrd="2" presId="urn:microsoft.com/office/officeart/2005/8/layout/hList2"/>
    <dgm:cxn modelId="{E4F23F29-CCC4-41D5-89C3-EE04A5F0E2F8}" type="presOf" srcId="{D537E6CD-F407-4FDE-BEAA-D96B543753BF}" destId="{6F65E959-422D-474F-8756-16DF081662ED}" srcOrd="0" destOrd="4" presId="urn:microsoft.com/office/officeart/2005/8/layout/hList2"/>
    <dgm:cxn modelId="{AAE64E1C-D828-46F1-B64A-47784147DED3}" srcId="{58BC021F-75E5-42DA-BFEA-0E7B6D05EBC3}" destId="{5FF4CDE8-D952-4367-8154-875ED570C61F}" srcOrd="3" destOrd="0" parTransId="{948BD107-BF06-4BD7-8FC4-DDA6AF56F8B8}" sibTransId="{1D41727D-D92B-4B79-AED1-44ADB1A13A45}"/>
    <dgm:cxn modelId="{0FE7EBCE-487D-43A6-A565-6CA5AF28A3DD}" srcId="{58BC021F-75E5-42DA-BFEA-0E7B6D05EBC3}" destId="{D6443C2F-3C15-412B-89A9-A3E861D16EA3}" srcOrd="1" destOrd="0" parTransId="{2E05A409-BF8B-4468-8490-13190845DDD8}" sibTransId="{B1985D1A-BDD2-4CFD-B4D6-A424C10DD743}"/>
    <dgm:cxn modelId="{3093B175-4131-48D3-B07B-334F06AA671A}" srcId="{58BC021F-75E5-42DA-BFEA-0E7B6D05EBC3}" destId="{F5D8B092-3F73-42F0-884A-762472769BAD}" srcOrd="5" destOrd="0" parTransId="{B6D6852A-E457-45B8-B197-6922517C0F76}" sibTransId="{4DC98638-D3F1-4EF0-A194-F544C15899CE}"/>
    <dgm:cxn modelId="{FD3C7FDF-C658-436D-B413-D9803CACEA69}" type="presOf" srcId="{9BB9E6C9-440B-4DE1-AF46-F3E2218FC24E}" destId="{6F65E959-422D-474F-8756-16DF081662ED}" srcOrd="0" destOrd="7" presId="urn:microsoft.com/office/officeart/2005/8/layout/hList2"/>
    <dgm:cxn modelId="{C0497BCB-9BAB-4F06-A581-E8A89D6C2BEB}" type="presOf" srcId="{A426EAA7-9DBC-4453-8524-87F46D7BEA2B}" destId="{3048936F-0409-4E30-A371-C2DFC09BE61E}" srcOrd="0" destOrd="0" presId="urn:microsoft.com/office/officeart/2005/8/layout/hList2"/>
    <dgm:cxn modelId="{AB3C7175-BF15-40D3-87F8-A48EC05A42CF}" srcId="{C623D1B5-7A8E-4E0C-AE81-650696BC8C04}" destId="{98D8B558-D726-4939-8581-DE3CC01C9D2B}" srcOrd="2" destOrd="0" parTransId="{EF1533E0-B786-4FDE-BABE-436A82FDEEDB}" sibTransId="{EF9031DC-2EDD-4D1B-8A78-8542E94A32E0}"/>
    <dgm:cxn modelId="{2EEBD6E5-A77E-4219-91AE-5CF7C0ABCFF9}" type="presOf" srcId="{944132C9-2821-451A-A61F-3643137AC7E0}" destId="{D076E706-C203-4C83-8279-4698D26D0FE7}" srcOrd="0" destOrd="1" presId="urn:microsoft.com/office/officeart/2005/8/layout/hList2"/>
    <dgm:cxn modelId="{F67CF8D2-AB8B-4D0B-93F0-90A23540F51B}" type="presOf" srcId="{C623D1B5-7A8E-4E0C-AE81-650696BC8C04}" destId="{43576A89-4A5F-46B0-96DB-4986FC88AF7B}" srcOrd="0" destOrd="0" presId="urn:microsoft.com/office/officeart/2005/8/layout/hList2"/>
    <dgm:cxn modelId="{C4504BAD-D14A-43F8-8513-B98A5B519E58}" type="presOf" srcId="{F5D8B092-3F73-42F0-884A-762472769BAD}" destId="{6F65E959-422D-474F-8756-16DF081662ED}" srcOrd="0" destOrd="5" presId="urn:microsoft.com/office/officeart/2005/8/layout/hList2"/>
    <dgm:cxn modelId="{3A5D9C6F-93D2-4846-9425-F2D971FABC86}" srcId="{58BC021F-75E5-42DA-BFEA-0E7B6D05EBC3}" destId="{D537E6CD-F407-4FDE-BEAA-D96B543753BF}" srcOrd="4" destOrd="0" parTransId="{91BDC2B0-D7BB-47A5-AE49-D4D4C4F677C6}" sibTransId="{EA23DBE7-80D7-4614-B74E-70D213C7AC86}"/>
    <dgm:cxn modelId="{4A2582BD-1227-46D7-8845-6944DBA1946E}" type="presOf" srcId="{F381337C-6906-4307-B286-44336D4CEADC}" destId="{6F65E959-422D-474F-8756-16DF081662ED}" srcOrd="0" destOrd="8" presId="urn:microsoft.com/office/officeart/2005/8/layout/hList2"/>
    <dgm:cxn modelId="{B42776A7-CA38-494B-B552-5975AA27B2FA}" srcId="{58BC021F-75E5-42DA-BFEA-0E7B6D05EBC3}" destId="{F381337C-6906-4307-B286-44336D4CEADC}" srcOrd="8" destOrd="0" parTransId="{60D515CF-DE0E-431E-A9C8-5305F00F6B55}" sibTransId="{A46D6686-617D-4817-8938-67989E7C6436}"/>
    <dgm:cxn modelId="{29517D87-6267-4181-827C-5F8D6EB66279}" type="presOf" srcId="{58BC021F-75E5-42DA-BFEA-0E7B6D05EBC3}" destId="{C743AF3E-5D58-45DC-BA3D-3670C3F7E2F2}" srcOrd="0" destOrd="0" presId="urn:microsoft.com/office/officeart/2005/8/layout/hList2"/>
    <dgm:cxn modelId="{B641B406-CC46-46FF-B970-CF512F43100A}" srcId="{58BC021F-75E5-42DA-BFEA-0E7B6D05EBC3}" destId="{9BB9E6C9-440B-4DE1-AF46-F3E2218FC24E}" srcOrd="7" destOrd="0" parTransId="{42B90A43-5C42-4AD8-A9CD-E9051A52A3C0}" sibTransId="{37C92292-70DF-483D-8498-4050829BF80E}"/>
    <dgm:cxn modelId="{1EAFDB48-7296-4331-899C-B5E5DF12A9A9}" srcId="{C623D1B5-7A8E-4E0C-AE81-650696BC8C04}" destId="{76BF9E05-0831-4883-B1D7-6BFF38CC5D1F}" srcOrd="5" destOrd="0" parTransId="{8ABDB102-4735-4E65-BAE5-48DEA8423DF8}" sibTransId="{D07DB03A-0537-4D97-8EAA-7C3535852BC5}"/>
    <dgm:cxn modelId="{0489379D-8CEA-4F84-AE3D-024F0507BA24}" type="presOf" srcId="{5FF4CDE8-D952-4367-8154-875ED570C61F}" destId="{6F65E959-422D-474F-8756-16DF081662ED}" srcOrd="0" destOrd="3" presId="urn:microsoft.com/office/officeart/2005/8/layout/hList2"/>
    <dgm:cxn modelId="{0C8A9388-A2FD-4B4D-9844-AFFBCCF00D7C}" type="presOf" srcId="{E3A0045F-F0E5-4D05-9EA4-16C81E2B2142}" destId="{D076E706-C203-4C83-8279-4698D26D0FE7}" srcOrd="0" destOrd="9" presId="urn:microsoft.com/office/officeart/2005/8/layout/hList2"/>
    <dgm:cxn modelId="{01AE2D53-28FA-425E-9C41-96C24B432C84}" srcId="{A426EAA7-9DBC-4453-8524-87F46D7BEA2B}" destId="{58BC021F-75E5-42DA-BFEA-0E7B6D05EBC3}" srcOrd="1" destOrd="0" parTransId="{CFCCBF58-1CD3-40BF-B38E-F2262FF77CE5}" sibTransId="{664A9C4E-7D2A-4207-B449-912AFDA8D635}"/>
    <dgm:cxn modelId="{DD8647AB-2C84-45D9-AC2A-4E512CAAD290}" type="presOf" srcId="{59594D1B-B282-4A29-A686-46A30DD496A4}" destId="{6F65E959-422D-474F-8756-16DF081662ED}" srcOrd="0" destOrd="10" presId="urn:microsoft.com/office/officeart/2005/8/layout/hList2"/>
    <dgm:cxn modelId="{209C9B8E-905B-46B0-8694-47ECB3AAD9B3}" type="presOf" srcId="{84D1E9F4-9B86-41E5-808B-8A2AE96BDE45}" destId="{D076E706-C203-4C83-8279-4698D26D0FE7}" srcOrd="0" destOrd="7" presId="urn:microsoft.com/office/officeart/2005/8/layout/hList2"/>
    <dgm:cxn modelId="{767D3EAA-8B91-47AD-BA4D-EF0F73B921C2}" srcId="{58BC021F-75E5-42DA-BFEA-0E7B6D05EBC3}" destId="{EE15ACD8-5C43-47EF-B4B7-6D5B7E5629EE}" srcOrd="0" destOrd="0" parTransId="{0727D239-3C32-49E3-AF8B-D3CAEAAF97E8}" sibTransId="{2FC1B6AF-E7E7-46BA-99FB-E4DEAAAB3F48}"/>
    <dgm:cxn modelId="{96EB7C05-93DE-49A7-A511-6E61B1CE6866}" type="presOf" srcId="{EE15ACD8-5C43-47EF-B4B7-6D5B7E5629EE}" destId="{6F65E959-422D-474F-8756-16DF081662ED}" srcOrd="0" destOrd="0" presId="urn:microsoft.com/office/officeart/2005/8/layout/hList2"/>
    <dgm:cxn modelId="{0EEAC23D-CD0A-4508-8634-FDE13E6B2017}" srcId="{58BC021F-75E5-42DA-BFEA-0E7B6D05EBC3}" destId="{59594D1B-B282-4A29-A686-46A30DD496A4}" srcOrd="10" destOrd="0" parTransId="{78C2AC35-2781-4D95-B005-BE377031782F}" sibTransId="{71CF4523-2F8C-440D-9778-E5635B4F28AF}"/>
    <dgm:cxn modelId="{3D1BE095-C8E2-468D-AC92-7F81EDEE51E7}" type="presOf" srcId="{7732AB6B-8A4A-433E-8907-2BC8DD0A8558}" destId="{D076E706-C203-4C83-8279-4698D26D0FE7}" srcOrd="0" destOrd="6" presId="urn:microsoft.com/office/officeart/2005/8/layout/hList2"/>
    <dgm:cxn modelId="{9585374D-489F-4DF3-AD6B-3CB3E5C7D188}" type="presOf" srcId="{3B933AA3-BDDE-40E4-8219-5F968E7D15E9}" destId="{D076E706-C203-4C83-8279-4698D26D0FE7}" srcOrd="0" destOrd="4" presId="urn:microsoft.com/office/officeart/2005/8/layout/hList2"/>
    <dgm:cxn modelId="{750A8DEE-2683-4575-B96D-822B0DBB12FB}" type="presOf" srcId="{4294BBE0-E98D-4CD7-AA0B-1BA39BA02AD1}" destId="{D076E706-C203-4C83-8279-4698D26D0FE7}" srcOrd="0" destOrd="3" presId="urn:microsoft.com/office/officeart/2005/8/layout/hList2"/>
    <dgm:cxn modelId="{B88DC47E-F607-4FC1-875F-A29D65247A64}" srcId="{C623D1B5-7A8E-4E0C-AE81-650696BC8C04}" destId="{B6D68225-E05E-4DC8-B563-B922A9125A2F}" srcOrd="0" destOrd="0" parTransId="{AACEB4BE-F66B-437E-A135-7C57975B5165}" sibTransId="{36238F16-0C74-4D45-B5A4-90D7DD70E103}"/>
    <dgm:cxn modelId="{E3B2D0CA-BF16-4025-B7DB-D0A602B7BDD1}" type="presOf" srcId="{B6D68225-E05E-4DC8-B563-B922A9125A2F}" destId="{D076E706-C203-4C83-8279-4698D26D0FE7}" srcOrd="0" destOrd="0" presId="urn:microsoft.com/office/officeart/2005/8/layout/hList2"/>
    <dgm:cxn modelId="{8E99ECA9-426C-4087-BB1E-729535FE42A0}" srcId="{C623D1B5-7A8E-4E0C-AE81-650696BC8C04}" destId="{3B933AA3-BDDE-40E4-8219-5F968E7D15E9}" srcOrd="4" destOrd="0" parTransId="{C89FC302-449B-4EC4-A6E4-CEFEDC9B2E5B}" sibTransId="{2D9C2B03-A1B7-49CA-96E1-F106F1DF35E8}"/>
    <dgm:cxn modelId="{A5B06AA7-526A-4C63-BCF4-8A4AF56B6F40}" srcId="{58BC021F-75E5-42DA-BFEA-0E7B6D05EBC3}" destId="{29743ACF-C60F-43ED-A2F4-A29B9A690583}" srcOrd="6" destOrd="0" parTransId="{2613B22D-912B-42BA-94D4-D5F2257D3035}" sibTransId="{B83E1A3D-6930-4BAA-9502-0D198929EC7D}"/>
    <dgm:cxn modelId="{63FDA489-1126-4AEF-B200-29727CF2E505}" srcId="{C623D1B5-7A8E-4E0C-AE81-650696BC8C04}" destId="{4294BBE0-E98D-4CD7-AA0B-1BA39BA02AD1}" srcOrd="3" destOrd="0" parTransId="{2C511412-D4DA-402B-8D29-7A87A3F3E1D2}" sibTransId="{D3ABD38E-5ADF-43B2-B288-3EE7488CCD24}"/>
    <dgm:cxn modelId="{C149E2E5-03CA-4AF7-B892-FA685D991E47}" type="presOf" srcId="{D6443C2F-3C15-412B-89A9-A3E861D16EA3}" destId="{6F65E959-422D-474F-8756-16DF081662ED}" srcOrd="0" destOrd="1" presId="urn:microsoft.com/office/officeart/2005/8/layout/hList2"/>
    <dgm:cxn modelId="{5740DF02-6C44-4612-9A24-E4F962AB5CCD}" type="presOf" srcId="{8B5B8DFA-69F7-4ADA-B76F-1D0A8B6624E8}" destId="{D076E706-C203-4C83-8279-4698D26D0FE7}" srcOrd="0" destOrd="8" presId="urn:microsoft.com/office/officeart/2005/8/layout/hList2"/>
    <dgm:cxn modelId="{73F17F83-ED2F-4AE2-88E9-DFA9DBF5E3EA}" srcId="{C623D1B5-7A8E-4E0C-AE81-650696BC8C04}" destId="{7732AB6B-8A4A-433E-8907-2BC8DD0A8558}" srcOrd="6" destOrd="0" parTransId="{FC21EAC2-4975-46E5-8BD1-049C8C58C528}" sibTransId="{96B697F7-36BF-4577-8E89-62D0F52DAB0B}"/>
    <dgm:cxn modelId="{99E6D97D-AC7E-4DA4-ADEA-3A8F0B917E30}" srcId="{58BC021F-75E5-42DA-BFEA-0E7B6D05EBC3}" destId="{670C4DEA-48F4-464F-A359-EE6426292327}" srcOrd="9" destOrd="0" parTransId="{E5D1ADDD-0DA5-4B38-A798-D4F4E1BE506A}" sibTransId="{EC9C7CBB-B409-4A90-BA1C-06C9044AE28B}"/>
    <dgm:cxn modelId="{733BA94F-648D-40B7-BBED-010C8C4491D2}" type="presOf" srcId="{00882C58-234D-4D7C-A260-D54C08B236A7}" destId="{6F65E959-422D-474F-8756-16DF081662ED}" srcOrd="0" destOrd="2" presId="urn:microsoft.com/office/officeart/2005/8/layout/hList2"/>
    <dgm:cxn modelId="{2DECF19E-6DB4-41F4-9CA4-08F738E270D9}" type="presOf" srcId="{76BF9E05-0831-4883-B1D7-6BFF38CC5D1F}" destId="{D076E706-C203-4C83-8279-4698D26D0FE7}" srcOrd="0" destOrd="5" presId="urn:microsoft.com/office/officeart/2005/8/layout/hList2"/>
    <dgm:cxn modelId="{D2ECA9D8-73C8-492B-9CB2-FD27AE87FD7B}" srcId="{A426EAA7-9DBC-4453-8524-87F46D7BEA2B}" destId="{C623D1B5-7A8E-4E0C-AE81-650696BC8C04}" srcOrd="0" destOrd="0" parTransId="{DD1078BF-1DAD-41EC-90C1-CFC6EE8EC2CC}" sibTransId="{BE64B1A7-AD9B-4678-B071-6775F7243111}"/>
    <dgm:cxn modelId="{27281885-2733-4CC6-BBBE-231195425B83}" type="presOf" srcId="{670C4DEA-48F4-464F-A359-EE6426292327}" destId="{6F65E959-422D-474F-8756-16DF081662ED}" srcOrd="0" destOrd="9" presId="urn:microsoft.com/office/officeart/2005/8/layout/hList2"/>
    <dgm:cxn modelId="{5994CE5A-7185-41AB-B0CB-1093E88F1326}" srcId="{C623D1B5-7A8E-4E0C-AE81-650696BC8C04}" destId="{E3A0045F-F0E5-4D05-9EA4-16C81E2B2142}" srcOrd="9" destOrd="0" parTransId="{2A4CA76F-B98D-4D7D-A245-0C78275BE860}" sibTransId="{C1B3B8CB-0A26-4404-83CA-AED549204C93}"/>
    <dgm:cxn modelId="{63229EE4-6A60-48EB-8AE1-3F87DD34D1B8}" type="presParOf" srcId="{3048936F-0409-4E30-A371-C2DFC09BE61E}" destId="{EACD0BBD-F9B9-468E-91C4-D5A86FC0A813}" srcOrd="0" destOrd="0" presId="urn:microsoft.com/office/officeart/2005/8/layout/hList2"/>
    <dgm:cxn modelId="{7E396BE3-F528-4489-944A-78861328C8EC}" type="presParOf" srcId="{EACD0BBD-F9B9-468E-91C4-D5A86FC0A813}" destId="{E99412FE-359D-416F-A98C-FEBAB47789C3}" srcOrd="0" destOrd="0" presId="urn:microsoft.com/office/officeart/2005/8/layout/hList2"/>
    <dgm:cxn modelId="{8148DA23-9096-46B3-815F-F462A6298B85}" type="presParOf" srcId="{EACD0BBD-F9B9-468E-91C4-D5A86FC0A813}" destId="{D076E706-C203-4C83-8279-4698D26D0FE7}" srcOrd="1" destOrd="0" presId="urn:microsoft.com/office/officeart/2005/8/layout/hList2"/>
    <dgm:cxn modelId="{2B7EB2D0-1991-44F4-9E6F-4986277BF3CA}" type="presParOf" srcId="{EACD0BBD-F9B9-468E-91C4-D5A86FC0A813}" destId="{43576A89-4A5F-46B0-96DB-4986FC88AF7B}" srcOrd="2" destOrd="0" presId="urn:microsoft.com/office/officeart/2005/8/layout/hList2"/>
    <dgm:cxn modelId="{F551AEA2-2DC9-4969-BDDC-1DA577F508CF}" type="presParOf" srcId="{3048936F-0409-4E30-A371-C2DFC09BE61E}" destId="{FA35E034-0A8F-473A-8EC9-BCA24780A19C}" srcOrd="1" destOrd="0" presId="urn:microsoft.com/office/officeart/2005/8/layout/hList2"/>
    <dgm:cxn modelId="{DFE019F8-6E52-43EA-B8AB-F7859A98BEA3}" type="presParOf" srcId="{3048936F-0409-4E30-A371-C2DFC09BE61E}" destId="{913B69B8-B96E-48F3-8190-CFA43C56CE6B}" srcOrd="2" destOrd="0" presId="urn:microsoft.com/office/officeart/2005/8/layout/hList2"/>
    <dgm:cxn modelId="{D397D4CD-9F38-4333-8BC4-64DF1C557505}" type="presParOf" srcId="{913B69B8-B96E-48F3-8190-CFA43C56CE6B}" destId="{B2581B85-CD8D-4403-9365-B51353989B73}" srcOrd="0" destOrd="0" presId="urn:microsoft.com/office/officeart/2005/8/layout/hList2"/>
    <dgm:cxn modelId="{502D4C0D-4302-4811-87C2-586312C3BB86}" type="presParOf" srcId="{913B69B8-B96E-48F3-8190-CFA43C56CE6B}" destId="{6F65E959-422D-474F-8756-16DF081662ED}" srcOrd="1" destOrd="0" presId="urn:microsoft.com/office/officeart/2005/8/layout/hList2"/>
    <dgm:cxn modelId="{20B7AF46-BC51-4F33-A66C-40C1AC3C09A3}" type="presParOf" srcId="{913B69B8-B96E-48F3-8190-CFA43C56CE6B}" destId="{C743AF3E-5D58-45DC-BA3D-3670C3F7E2F2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F9EA736-549A-430D-9364-45E818DD9570}" type="doc">
      <dgm:prSet loTypeId="urn:microsoft.com/office/officeart/2009/3/layout/PhasedProcess" loCatId="process" qsTypeId="urn:microsoft.com/office/officeart/2005/8/quickstyle/simple1" qsCatId="simple" csTypeId="urn:microsoft.com/office/officeart/2005/8/colors/colorful4" csCatId="colorful" phldr="1"/>
      <dgm:spPr/>
    </dgm:pt>
    <dgm:pt modelId="{56ABC2E9-3487-43C7-A494-23F75883438B}">
      <dgm:prSet phldrT="[Text]" custT="1"/>
      <dgm:spPr/>
      <dgm:t>
        <a:bodyPr/>
        <a:lstStyle/>
        <a:p>
          <a:r>
            <a:rPr lang="en-US" sz="1200" b="1" dirty="0">
              <a:solidFill>
                <a:schemeClr val="accent1"/>
              </a:solidFill>
            </a:rPr>
            <a:t>OWASP Web Top 10</a:t>
          </a:r>
          <a:endParaRPr lang="en-US" sz="1200" dirty="0">
            <a:solidFill>
              <a:schemeClr val="accent1"/>
            </a:solidFill>
          </a:endParaRPr>
        </a:p>
      </dgm:t>
    </dgm:pt>
    <dgm:pt modelId="{CB1FFACE-4E33-497B-886D-6051DAC29AC0}" type="parTrans" cxnId="{EB774A9B-C396-41B4-BF40-E9BA9E8A780D}">
      <dgm:prSet/>
      <dgm:spPr/>
      <dgm:t>
        <a:bodyPr/>
        <a:lstStyle/>
        <a:p>
          <a:endParaRPr lang="en-US"/>
        </a:p>
      </dgm:t>
    </dgm:pt>
    <dgm:pt modelId="{AC4E4B01-447B-4403-80C1-679D3B5822E9}" type="sibTrans" cxnId="{EB774A9B-C396-41B4-BF40-E9BA9E8A780D}">
      <dgm:prSet/>
      <dgm:spPr/>
      <dgm:t>
        <a:bodyPr/>
        <a:lstStyle/>
        <a:p>
          <a:endParaRPr lang="en-US"/>
        </a:p>
      </dgm:t>
    </dgm:pt>
    <dgm:pt modelId="{4C36CC37-5F73-491E-800D-A285A1D97AC2}">
      <dgm:prSet phldrT="[Text]" custT="1"/>
      <dgm:spPr/>
      <dgm:t>
        <a:bodyPr/>
        <a:lstStyle/>
        <a:p>
          <a:r>
            <a:rPr lang="en-US" sz="1200" b="1" dirty="0">
              <a:solidFill>
                <a:schemeClr val="accent1"/>
              </a:solidFill>
            </a:rPr>
            <a:t>OWASP Code Review Top 9</a:t>
          </a:r>
          <a:endParaRPr lang="en-US" sz="1200" dirty="0">
            <a:solidFill>
              <a:schemeClr val="accent1"/>
            </a:solidFill>
          </a:endParaRPr>
        </a:p>
      </dgm:t>
    </dgm:pt>
    <dgm:pt modelId="{64DE0BBA-2A22-408C-B170-9B950C7D0E38}" type="parTrans" cxnId="{51F6C023-58BE-43B8-BE18-0CA3DEC15D2E}">
      <dgm:prSet/>
      <dgm:spPr/>
      <dgm:t>
        <a:bodyPr/>
        <a:lstStyle/>
        <a:p>
          <a:endParaRPr lang="en-US"/>
        </a:p>
      </dgm:t>
    </dgm:pt>
    <dgm:pt modelId="{1DDB6946-AA50-4F58-8428-BB921E80B2F2}" type="sibTrans" cxnId="{51F6C023-58BE-43B8-BE18-0CA3DEC15D2E}">
      <dgm:prSet/>
      <dgm:spPr/>
      <dgm:t>
        <a:bodyPr/>
        <a:lstStyle/>
        <a:p>
          <a:endParaRPr lang="en-US"/>
        </a:p>
      </dgm:t>
    </dgm:pt>
    <dgm:pt modelId="{3CFBD674-9EDE-4A14-A8F8-042413BD05DB}">
      <dgm:prSet phldrT="[Text]"/>
      <dgm:spPr/>
      <dgm:t>
        <a:bodyPr/>
        <a:lstStyle/>
        <a:p>
          <a:r>
            <a:rPr lang="en-US" b="1" dirty="0">
              <a:solidFill>
                <a:schemeClr val="accent4"/>
              </a:solidFill>
            </a:rPr>
            <a:t>OWASP ASVS v3.0.1</a:t>
          </a:r>
          <a:endParaRPr lang="en-US" dirty="0">
            <a:solidFill>
              <a:schemeClr val="accent4"/>
            </a:solidFill>
          </a:endParaRPr>
        </a:p>
      </dgm:t>
    </dgm:pt>
    <dgm:pt modelId="{6B7D3057-B805-4722-AEA4-D324073395C6}" type="parTrans" cxnId="{BC0B2C18-338A-4833-B553-49AA1C524C5E}">
      <dgm:prSet/>
      <dgm:spPr/>
      <dgm:t>
        <a:bodyPr/>
        <a:lstStyle/>
        <a:p>
          <a:endParaRPr lang="en-US"/>
        </a:p>
      </dgm:t>
    </dgm:pt>
    <dgm:pt modelId="{19B72DAB-81F7-48AD-AC17-40404646BB52}" type="sibTrans" cxnId="{BC0B2C18-338A-4833-B553-49AA1C524C5E}">
      <dgm:prSet/>
      <dgm:spPr/>
      <dgm:t>
        <a:bodyPr/>
        <a:lstStyle/>
        <a:p>
          <a:endParaRPr lang="en-US"/>
        </a:p>
      </dgm:t>
    </dgm:pt>
    <dgm:pt modelId="{87E30877-2C20-4B82-8108-B42FED5960B8}">
      <dgm:prSet phldrT="[Text]"/>
      <dgm:spPr/>
      <dgm:t>
        <a:bodyPr/>
        <a:lstStyle/>
        <a:p>
          <a:r>
            <a:rPr lang="en-US" dirty="0"/>
            <a:t>Architecture</a:t>
          </a:r>
        </a:p>
      </dgm:t>
    </dgm:pt>
    <dgm:pt modelId="{C6ADAA07-C83D-4159-A965-429C395B7903}" type="parTrans" cxnId="{A93F1AEC-5F37-46FB-A912-C165FB388F52}">
      <dgm:prSet/>
      <dgm:spPr/>
      <dgm:t>
        <a:bodyPr/>
        <a:lstStyle/>
        <a:p>
          <a:endParaRPr lang="en-US"/>
        </a:p>
      </dgm:t>
    </dgm:pt>
    <dgm:pt modelId="{EED72037-4AD3-4C04-89AC-EC2823F5D601}" type="sibTrans" cxnId="{A93F1AEC-5F37-46FB-A912-C165FB388F52}">
      <dgm:prSet/>
      <dgm:spPr/>
      <dgm:t>
        <a:bodyPr/>
        <a:lstStyle/>
        <a:p>
          <a:endParaRPr lang="en-US"/>
        </a:p>
      </dgm:t>
    </dgm:pt>
    <dgm:pt modelId="{04237DC3-4C7E-4153-85BE-A00C84A78878}">
      <dgm:prSet phldrT="[Text]"/>
      <dgm:spPr/>
      <dgm:t>
        <a:bodyPr/>
        <a:lstStyle/>
        <a:p>
          <a:endParaRPr lang="en-US" dirty="0"/>
        </a:p>
      </dgm:t>
    </dgm:pt>
    <dgm:pt modelId="{7BA1D71F-D75A-47F1-ABD2-95D982E58172}" type="parTrans" cxnId="{201AB7F0-6EDB-4A55-ABA7-6606E66F75E1}">
      <dgm:prSet/>
      <dgm:spPr/>
      <dgm:t>
        <a:bodyPr/>
        <a:lstStyle/>
        <a:p>
          <a:endParaRPr lang="en-US"/>
        </a:p>
      </dgm:t>
    </dgm:pt>
    <dgm:pt modelId="{CF814BE6-DDF9-4D17-A9F1-BDF30998457B}" type="sibTrans" cxnId="{201AB7F0-6EDB-4A55-ABA7-6606E66F75E1}">
      <dgm:prSet/>
      <dgm:spPr/>
      <dgm:t>
        <a:bodyPr/>
        <a:lstStyle/>
        <a:p>
          <a:endParaRPr lang="en-US"/>
        </a:p>
      </dgm:t>
    </dgm:pt>
    <dgm:pt modelId="{14BD4758-8484-48C3-98A9-3EDC8A789CDC}" type="pres">
      <dgm:prSet presAssocID="{3F9EA736-549A-430D-9364-45E818DD9570}" presName="Name0" presStyleCnt="0">
        <dgm:presLayoutVars>
          <dgm:chMax val="3"/>
          <dgm:chPref val="3"/>
          <dgm:bulletEnabled val="1"/>
          <dgm:dir/>
          <dgm:animLvl val="lvl"/>
        </dgm:presLayoutVars>
      </dgm:prSet>
      <dgm:spPr/>
    </dgm:pt>
    <dgm:pt modelId="{29054A3B-D311-4D7F-BDBD-8F091FDCB1C4}" type="pres">
      <dgm:prSet presAssocID="{3F9EA736-549A-430D-9364-45E818DD9570}" presName="middleComposite" presStyleCnt="0"/>
      <dgm:spPr/>
    </dgm:pt>
    <dgm:pt modelId="{D9C58239-85CB-43A2-958B-4ECF90763E53}" type="pres">
      <dgm:prSet presAssocID="{3F9EA736-549A-430D-9364-45E818DD9570}" presName="leftComposite" presStyleCnt="0"/>
      <dgm:spPr/>
    </dgm:pt>
    <dgm:pt modelId="{72F38683-4557-4FDF-93D1-52EAA5BEE415}" type="pres">
      <dgm:prSet presAssocID="{56ABC2E9-3487-43C7-A494-23F75883438B}" presName="childText1_1" presStyleLbl="vennNode1" presStyleIdx="0" presStyleCnt="9" custScaleX="157494" custScaleY="151172" custLinFactNeighborX="-20110" custLinFactNeighborY="-14452">
        <dgm:presLayoutVars>
          <dgm:chMax val="0"/>
          <dgm:chPref val="0"/>
        </dgm:presLayoutVars>
      </dgm:prSet>
      <dgm:spPr/>
    </dgm:pt>
    <dgm:pt modelId="{FF97A93C-5295-4770-98E0-E2D38662863E}" type="pres">
      <dgm:prSet presAssocID="{56ABC2E9-3487-43C7-A494-23F75883438B}" presName="ellipse1" presStyleLbl="vennNode1" presStyleIdx="1" presStyleCnt="9" custLinFactNeighborX="-88267" custLinFactNeighborY="16478"/>
      <dgm:spPr/>
    </dgm:pt>
    <dgm:pt modelId="{A4653AC9-857B-4985-8C9A-5141C2526249}" type="pres">
      <dgm:prSet presAssocID="{56ABC2E9-3487-43C7-A494-23F75883438B}" presName="ellipse2" presStyleLbl="vennNode1" presStyleIdx="2" presStyleCnt="9" custLinFactX="29465" custLinFactNeighborX="100000" custLinFactNeighborY="-5864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1FDE468D-CE86-4B9C-B6D6-EE3050D3A905}" type="pres">
      <dgm:prSet presAssocID="{4C36CC37-5F73-491E-800D-A285A1D97AC2}" presName="childText1_2" presStyleLbl="vennNode1" presStyleIdx="3" presStyleCnt="9" custScaleX="127239" custScaleY="125575" custLinFactY="8576" custLinFactNeighborX="-21220" custLinFactNeighborY="100000">
        <dgm:presLayoutVars>
          <dgm:chMax val="0"/>
          <dgm:chPref val="0"/>
        </dgm:presLayoutVars>
      </dgm:prSet>
      <dgm:spPr/>
    </dgm:pt>
    <dgm:pt modelId="{3698E3F7-1A2A-4414-87B1-CBA663AFE6B3}" type="pres">
      <dgm:prSet presAssocID="{4C36CC37-5F73-491E-800D-A285A1D97AC2}" presName="ellipse3" presStyleLbl="vennNode1" presStyleIdx="4" presStyleCnt="9"/>
      <dgm:spPr/>
    </dgm:pt>
    <dgm:pt modelId="{4944BC6E-AFFE-4484-921E-B9ACB54CEA4B}" type="pres">
      <dgm:prSet presAssocID="{04237DC3-4C7E-4153-85BE-A00C84A78878}" presName="childText1_3" presStyleLbl="vennNode1" presStyleIdx="5" presStyleCnt="9" custScaleX="53491" custScaleY="51716">
        <dgm:presLayoutVars>
          <dgm:chMax val="0"/>
          <dgm:chPref val="0"/>
        </dgm:presLayoutVars>
      </dgm:prSet>
      <dgm:spPr/>
    </dgm:pt>
    <dgm:pt modelId="{554A2194-55A9-4718-8B2C-54A5F94F28C7}" type="pres">
      <dgm:prSet presAssocID="{87E30877-2C20-4B82-8108-B42FED5960B8}" presName="childText1_4" presStyleLbl="vennNode1" presStyleIdx="6" presStyleCnt="9" custLinFactY="-16932" custLinFactNeighborX="44671" custLinFactNeighborY="-100000">
        <dgm:presLayoutVars>
          <dgm:chMax val="0"/>
          <dgm:chPref val="0"/>
        </dgm:presLayoutVars>
      </dgm:prSet>
      <dgm:spPr/>
    </dgm:pt>
    <dgm:pt modelId="{0098409A-5B9D-4D43-8463-4EFCC836AD1E}" type="pres">
      <dgm:prSet presAssocID="{87E30877-2C20-4B82-8108-B42FED5960B8}" presName="ellipse4" presStyleLbl="vennNode1" presStyleIdx="7" presStyleCnt="9" custLinFactNeighborX="-46812" custLinFactNeighborY="26756"/>
      <dgm:spPr/>
    </dgm:pt>
    <dgm:pt modelId="{2CD20D91-E8EC-4569-A8A6-3060400339C4}" type="pres">
      <dgm:prSet presAssocID="{87E30877-2C20-4B82-8108-B42FED5960B8}" presName="ellipse5" presStyleLbl="vennNode1" presStyleIdx="8" presStyleCnt="9"/>
      <dgm:spPr/>
    </dgm:pt>
    <dgm:pt modelId="{018EC3B2-3396-499A-A94A-05E4421860ED}" type="pres">
      <dgm:prSet presAssocID="{3F9EA736-549A-430D-9364-45E818DD9570}" presName="parentText1" presStyleLbl="revTx" presStyleIdx="0" presStyleCnt="1" custLinFactNeighborX="-1127" custLinFactNeighborY="21284">
        <dgm:presLayoutVars>
          <dgm:chMax val="4"/>
          <dgm:chPref val="3"/>
          <dgm:bulletEnabled val="1"/>
        </dgm:presLayoutVars>
      </dgm:prSet>
      <dgm:spPr/>
    </dgm:pt>
  </dgm:ptLst>
  <dgm:cxnLst>
    <dgm:cxn modelId="{759E23A4-901A-41BB-8E19-226ACBFF416C}" type="presOf" srcId="{3F9EA736-549A-430D-9364-45E818DD9570}" destId="{14BD4758-8484-48C3-98A9-3EDC8A789CDC}" srcOrd="0" destOrd="0" presId="urn:microsoft.com/office/officeart/2009/3/layout/PhasedProcess"/>
    <dgm:cxn modelId="{2693A6E3-8C8A-42A5-885F-C91FDDD8E2A3}" type="presOf" srcId="{87E30877-2C20-4B82-8108-B42FED5960B8}" destId="{554A2194-55A9-4718-8B2C-54A5F94F28C7}" srcOrd="0" destOrd="0" presId="urn:microsoft.com/office/officeart/2009/3/layout/PhasedProcess"/>
    <dgm:cxn modelId="{4827DF8F-4334-4504-B0CC-8BBD341C5491}" type="presOf" srcId="{56ABC2E9-3487-43C7-A494-23F75883438B}" destId="{72F38683-4557-4FDF-93D1-52EAA5BEE415}" srcOrd="0" destOrd="0" presId="urn:microsoft.com/office/officeart/2009/3/layout/PhasedProcess"/>
    <dgm:cxn modelId="{90DE1D76-2892-4253-8626-84213A11D693}" type="presOf" srcId="{4C36CC37-5F73-491E-800D-A285A1D97AC2}" destId="{1FDE468D-CE86-4B9C-B6D6-EE3050D3A905}" srcOrd="0" destOrd="0" presId="urn:microsoft.com/office/officeart/2009/3/layout/PhasedProcess"/>
    <dgm:cxn modelId="{EB774A9B-C396-41B4-BF40-E9BA9E8A780D}" srcId="{3CFBD674-9EDE-4A14-A8F8-042413BD05DB}" destId="{56ABC2E9-3487-43C7-A494-23F75883438B}" srcOrd="0" destOrd="0" parTransId="{CB1FFACE-4E33-497B-886D-6051DAC29AC0}" sibTransId="{AC4E4B01-447B-4403-80C1-679D3B5822E9}"/>
    <dgm:cxn modelId="{201AB7F0-6EDB-4A55-ABA7-6606E66F75E1}" srcId="{3CFBD674-9EDE-4A14-A8F8-042413BD05DB}" destId="{04237DC3-4C7E-4153-85BE-A00C84A78878}" srcOrd="2" destOrd="0" parTransId="{7BA1D71F-D75A-47F1-ABD2-95D982E58172}" sibTransId="{CF814BE6-DDF9-4D17-A9F1-BDF30998457B}"/>
    <dgm:cxn modelId="{BC0B2C18-338A-4833-B553-49AA1C524C5E}" srcId="{3F9EA736-549A-430D-9364-45E818DD9570}" destId="{3CFBD674-9EDE-4A14-A8F8-042413BD05DB}" srcOrd="0" destOrd="0" parTransId="{6B7D3057-B805-4722-AEA4-D324073395C6}" sibTransId="{19B72DAB-81F7-48AD-AC17-40404646BB52}"/>
    <dgm:cxn modelId="{15C04A5D-C430-41DB-84DC-755EC0832E18}" type="presOf" srcId="{3CFBD674-9EDE-4A14-A8F8-042413BD05DB}" destId="{018EC3B2-3396-499A-A94A-05E4421860ED}" srcOrd="0" destOrd="0" presId="urn:microsoft.com/office/officeart/2009/3/layout/PhasedProcess"/>
    <dgm:cxn modelId="{51F6C023-58BE-43B8-BE18-0CA3DEC15D2E}" srcId="{3CFBD674-9EDE-4A14-A8F8-042413BD05DB}" destId="{4C36CC37-5F73-491E-800D-A285A1D97AC2}" srcOrd="1" destOrd="0" parTransId="{64DE0BBA-2A22-408C-B170-9B950C7D0E38}" sibTransId="{1DDB6946-AA50-4F58-8428-BB921E80B2F2}"/>
    <dgm:cxn modelId="{A93F1AEC-5F37-46FB-A912-C165FB388F52}" srcId="{3CFBD674-9EDE-4A14-A8F8-042413BD05DB}" destId="{87E30877-2C20-4B82-8108-B42FED5960B8}" srcOrd="3" destOrd="0" parTransId="{C6ADAA07-C83D-4159-A965-429C395B7903}" sibTransId="{EED72037-4AD3-4C04-89AC-EC2823F5D601}"/>
    <dgm:cxn modelId="{E02E9D98-BACA-4306-B3B9-F9E65764D16B}" type="presOf" srcId="{04237DC3-4C7E-4153-85BE-A00C84A78878}" destId="{4944BC6E-AFFE-4484-921E-B9ACB54CEA4B}" srcOrd="0" destOrd="0" presId="urn:microsoft.com/office/officeart/2009/3/layout/PhasedProcess"/>
    <dgm:cxn modelId="{5A9D569A-AB57-43C4-B040-76B0E1E1B0FA}" type="presParOf" srcId="{14BD4758-8484-48C3-98A9-3EDC8A789CDC}" destId="{29054A3B-D311-4D7F-BDBD-8F091FDCB1C4}" srcOrd="0" destOrd="0" presId="urn:microsoft.com/office/officeart/2009/3/layout/PhasedProcess"/>
    <dgm:cxn modelId="{A59B74CD-7145-4044-9C14-2F1920233394}" type="presParOf" srcId="{14BD4758-8484-48C3-98A9-3EDC8A789CDC}" destId="{D9C58239-85CB-43A2-958B-4ECF90763E53}" srcOrd="1" destOrd="0" presId="urn:microsoft.com/office/officeart/2009/3/layout/PhasedProcess"/>
    <dgm:cxn modelId="{3A41B42C-C1DB-4C3C-B639-4700B2E4B408}" type="presParOf" srcId="{D9C58239-85CB-43A2-958B-4ECF90763E53}" destId="{72F38683-4557-4FDF-93D1-52EAA5BEE415}" srcOrd="0" destOrd="0" presId="urn:microsoft.com/office/officeart/2009/3/layout/PhasedProcess"/>
    <dgm:cxn modelId="{BD4491B8-5F43-4BDF-AB91-FCD19907ABB2}" type="presParOf" srcId="{D9C58239-85CB-43A2-958B-4ECF90763E53}" destId="{FF97A93C-5295-4770-98E0-E2D38662863E}" srcOrd="1" destOrd="0" presId="urn:microsoft.com/office/officeart/2009/3/layout/PhasedProcess"/>
    <dgm:cxn modelId="{1A76E9C4-9647-4FDE-8DA3-15E7BD407614}" type="presParOf" srcId="{D9C58239-85CB-43A2-958B-4ECF90763E53}" destId="{A4653AC9-857B-4985-8C9A-5141C2526249}" srcOrd="2" destOrd="0" presId="urn:microsoft.com/office/officeart/2009/3/layout/PhasedProcess"/>
    <dgm:cxn modelId="{F7FE6C98-2B26-4F79-8603-477E01C74776}" type="presParOf" srcId="{D9C58239-85CB-43A2-958B-4ECF90763E53}" destId="{1FDE468D-CE86-4B9C-B6D6-EE3050D3A905}" srcOrd="3" destOrd="0" presId="urn:microsoft.com/office/officeart/2009/3/layout/PhasedProcess"/>
    <dgm:cxn modelId="{3CEB0431-96AC-4C8C-A5CC-31250288A077}" type="presParOf" srcId="{D9C58239-85CB-43A2-958B-4ECF90763E53}" destId="{3698E3F7-1A2A-4414-87B1-CBA663AFE6B3}" srcOrd="4" destOrd="0" presId="urn:microsoft.com/office/officeart/2009/3/layout/PhasedProcess"/>
    <dgm:cxn modelId="{1CDC0FD2-B37A-4EA8-B77C-35C96898D1F2}" type="presParOf" srcId="{D9C58239-85CB-43A2-958B-4ECF90763E53}" destId="{4944BC6E-AFFE-4484-921E-B9ACB54CEA4B}" srcOrd="5" destOrd="0" presId="urn:microsoft.com/office/officeart/2009/3/layout/PhasedProcess"/>
    <dgm:cxn modelId="{6DBFB645-69AB-49E1-886C-943BD384318C}" type="presParOf" srcId="{D9C58239-85CB-43A2-958B-4ECF90763E53}" destId="{554A2194-55A9-4718-8B2C-54A5F94F28C7}" srcOrd="6" destOrd="0" presId="urn:microsoft.com/office/officeart/2009/3/layout/PhasedProcess"/>
    <dgm:cxn modelId="{931B3839-5FBB-4D1C-8D6E-8EB9D566BFBA}" type="presParOf" srcId="{D9C58239-85CB-43A2-958B-4ECF90763E53}" destId="{0098409A-5B9D-4D43-8463-4EFCC836AD1E}" srcOrd="7" destOrd="0" presId="urn:microsoft.com/office/officeart/2009/3/layout/PhasedProcess"/>
    <dgm:cxn modelId="{ACD1AF11-DE23-413F-9C47-195611093342}" type="presParOf" srcId="{D9C58239-85CB-43A2-958B-4ECF90763E53}" destId="{2CD20D91-E8EC-4569-A8A6-3060400339C4}" srcOrd="8" destOrd="0" presId="urn:microsoft.com/office/officeart/2009/3/layout/PhasedProcess"/>
    <dgm:cxn modelId="{68D5FB45-D1AD-4997-A920-A4D350FC2FCC}" type="presParOf" srcId="{14BD4758-8484-48C3-98A9-3EDC8A789CDC}" destId="{018EC3B2-3396-499A-A94A-05E4421860ED}" srcOrd="2" destOrd="0" presId="urn:microsoft.com/office/officeart/2009/3/layout/Phased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6199528-9307-4CD7-9964-6AB3751954FD}" type="doc">
      <dgm:prSet loTypeId="urn:microsoft.com/office/officeart/2005/8/layout/lProcess2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FD5DB59C-9FF5-410D-8707-481E69193F7E}">
      <dgm:prSet phldrT="[Text]"/>
      <dgm:spPr/>
      <dgm:t>
        <a:bodyPr/>
        <a:lstStyle/>
        <a:p>
          <a:r>
            <a:rPr lang="en-US" dirty="0"/>
            <a:t>Scope for the application security verification standard</a:t>
          </a:r>
        </a:p>
      </dgm:t>
    </dgm:pt>
    <dgm:pt modelId="{5F647A0F-366E-4C46-8600-B9A112057884}" type="parTrans" cxnId="{F0E06AFA-7523-464A-85D2-AA690A6D973B}">
      <dgm:prSet/>
      <dgm:spPr/>
      <dgm:t>
        <a:bodyPr/>
        <a:lstStyle/>
        <a:p>
          <a:endParaRPr lang="en-US"/>
        </a:p>
      </dgm:t>
    </dgm:pt>
    <dgm:pt modelId="{DA97276E-5DD6-49DC-80A7-C83CD48E4740}" type="sibTrans" cxnId="{F0E06AFA-7523-464A-85D2-AA690A6D973B}">
      <dgm:prSet/>
      <dgm:spPr/>
      <dgm:t>
        <a:bodyPr/>
        <a:lstStyle/>
        <a:p>
          <a:endParaRPr lang="en-US"/>
        </a:p>
      </dgm:t>
    </dgm:pt>
    <dgm:pt modelId="{7F3784F7-1A49-44F0-A617-67696BAE0FDF}">
      <dgm:prSet phldrT="[Text]"/>
      <dgm:spPr/>
      <dgm:t>
        <a:bodyPr/>
        <a:lstStyle/>
        <a:p>
          <a:r>
            <a:rPr lang="en-US" dirty="0"/>
            <a:t>Description of security verification levels</a:t>
          </a:r>
        </a:p>
      </dgm:t>
    </dgm:pt>
    <dgm:pt modelId="{BAC3226E-D19A-4F9F-B7F6-827C07B090A7}" type="parTrans" cxnId="{BBE4BF58-50A7-4E9F-895D-F541F822A1B4}">
      <dgm:prSet/>
      <dgm:spPr/>
      <dgm:t>
        <a:bodyPr/>
        <a:lstStyle/>
        <a:p>
          <a:endParaRPr lang="en-US"/>
        </a:p>
      </dgm:t>
    </dgm:pt>
    <dgm:pt modelId="{6AA9BFD5-427F-4AC0-B649-1D4AD260A5C3}" type="sibTrans" cxnId="{BBE4BF58-50A7-4E9F-895D-F541F822A1B4}">
      <dgm:prSet/>
      <dgm:spPr/>
      <dgm:t>
        <a:bodyPr/>
        <a:lstStyle/>
        <a:p>
          <a:endParaRPr lang="en-US"/>
        </a:p>
      </dgm:t>
    </dgm:pt>
    <dgm:pt modelId="{6052AC7D-36CE-4004-94F6-C6284456C89E}">
      <dgm:prSet phldrT="[Text]"/>
      <dgm:spPr/>
      <dgm:t>
        <a:bodyPr/>
        <a:lstStyle/>
        <a:p>
          <a:r>
            <a:rPr lang="en-US" dirty="0"/>
            <a:t>Requirements / Controls</a:t>
          </a:r>
        </a:p>
      </dgm:t>
    </dgm:pt>
    <dgm:pt modelId="{DF37459F-C2DE-48FA-8EA7-259DC1FA085F}" type="parTrans" cxnId="{2994265F-7D1B-429B-BAEA-F7672A6B508D}">
      <dgm:prSet/>
      <dgm:spPr/>
      <dgm:t>
        <a:bodyPr/>
        <a:lstStyle/>
        <a:p>
          <a:endParaRPr lang="en-US"/>
        </a:p>
      </dgm:t>
    </dgm:pt>
    <dgm:pt modelId="{A72EAF03-4493-4B7A-881A-C6501F9302B6}" type="sibTrans" cxnId="{2994265F-7D1B-429B-BAEA-F7672A6B508D}">
      <dgm:prSet/>
      <dgm:spPr/>
      <dgm:t>
        <a:bodyPr/>
        <a:lstStyle/>
        <a:p>
          <a:endParaRPr lang="en-US"/>
        </a:p>
      </dgm:t>
    </dgm:pt>
    <dgm:pt modelId="{432E41C6-C40D-4A76-87EE-5585BC649FDF}">
      <dgm:prSet phldrT="[Text]"/>
      <dgm:spPr/>
      <dgm:t>
        <a:bodyPr/>
        <a:lstStyle/>
        <a:p>
          <a:r>
            <a:rPr lang="en-US" dirty="0"/>
            <a:t>Standards Mappings</a:t>
          </a:r>
        </a:p>
      </dgm:t>
    </dgm:pt>
    <dgm:pt modelId="{E4607002-E4FC-45FD-9F31-345A1F641440}" type="parTrans" cxnId="{04E2FE31-D976-47E6-B2B4-7B663E4B4017}">
      <dgm:prSet/>
      <dgm:spPr/>
      <dgm:t>
        <a:bodyPr/>
        <a:lstStyle/>
        <a:p>
          <a:endParaRPr lang="en-US"/>
        </a:p>
      </dgm:t>
    </dgm:pt>
    <dgm:pt modelId="{8FC3F3D8-55F8-44FC-9F0F-11663000CD38}" type="sibTrans" cxnId="{04E2FE31-D976-47E6-B2B4-7B663E4B4017}">
      <dgm:prSet/>
      <dgm:spPr/>
      <dgm:t>
        <a:bodyPr/>
        <a:lstStyle/>
        <a:p>
          <a:endParaRPr lang="en-US"/>
        </a:p>
      </dgm:t>
    </dgm:pt>
    <dgm:pt modelId="{735FB97B-D0F7-4741-AB89-F11741E84B14}">
      <dgm:prSet phldrT="[Text]" custT="1"/>
      <dgm:spPr/>
      <dgm:t>
        <a:bodyPr/>
        <a:lstStyle/>
        <a:p>
          <a:r>
            <a:rPr lang="en-US" sz="3200" b="1" dirty="0"/>
            <a:t>Key parts of OWAS ASVS</a:t>
          </a:r>
          <a:endParaRPr lang="en-US" sz="3200" dirty="0"/>
        </a:p>
      </dgm:t>
    </dgm:pt>
    <dgm:pt modelId="{2C469F24-BABE-4C85-8EE3-B27543D50032}" type="parTrans" cxnId="{F4839AFC-1311-4342-94CA-7BE2705BC4BE}">
      <dgm:prSet/>
      <dgm:spPr/>
      <dgm:t>
        <a:bodyPr/>
        <a:lstStyle/>
        <a:p>
          <a:endParaRPr lang="en-US"/>
        </a:p>
      </dgm:t>
    </dgm:pt>
    <dgm:pt modelId="{406B28D2-C777-4AE9-B60C-9A98B5BB2C1A}" type="sibTrans" cxnId="{F4839AFC-1311-4342-94CA-7BE2705BC4BE}">
      <dgm:prSet/>
      <dgm:spPr/>
      <dgm:t>
        <a:bodyPr/>
        <a:lstStyle/>
        <a:p>
          <a:endParaRPr lang="en-US"/>
        </a:p>
      </dgm:t>
    </dgm:pt>
    <dgm:pt modelId="{2CDA8464-8D5C-4DDD-96B1-320789683F46}" type="pres">
      <dgm:prSet presAssocID="{56199528-9307-4CD7-9964-6AB3751954FD}" presName="theList" presStyleCnt="0">
        <dgm:presLayoutVars>
          <dgm:dir/>
          <dgm:animLvl val="lvl"/>
          <dgm:resizeHandles val="exact"/>
        </dgm:presLayoutVars>
      </dgm:prSet>
      <dgm:spPr/>
    </dgm:pt>
    <dgm:pt modelId="{AF553DE8-BD8C-43B4-82A1-EEDBFDE62E6C}" type="pres">
      <dgm:prSet presAssocID="{735FB97B-D0F7-4741-AB89-F11741E84B14}" presName="compNode" presStyleCnt="0"/>
      <dgm:spPr/>
    </dgm:pt>
    <dgm:pt modelId="{F59E0EA3-A4F5-4C4A-8589-4080FEB6AE85}" type="pres">
      <dgm:prSet presAssocID="{735FB97B-D0F7-4741-AB89-F11741E84B14}" presName="aNode" presStyleLbl="bgShp" presStyleIdx="0" presStyleCnt="1"/>
      <dgm:spPr/>
    </dgm:pt>
    <dgm:pt modelId="{08509FB9-3113-4B15-BC42-129D906FFC3E}" type="pres">
      <dgm:prSet presAssocID="{735FB97B-D0F7-4741-AB89-F11741E84B14}" presName="textNode" presStyleLbl="bgShp" presStyleIdx="0" presStyleCnt="1"/>
      <dgm:spPr/>
    </dgm:pt>
    <dgm:pt modelId="{066768E0-242F-46E0-871D-64787EA5326B}" type="pres">
      <dgm:prSet presAssocID="{735FB97B-D0F7-4741-AB89-F11741E84B14}" presName="compChildNode" presStyleCnt="0"/>
      <dgm:spPr/>
    </dgm:pt>
    <dgm:pt modelId="{ADC740C0-85A2-4E56-AE8C-780E3D48DB0C}" type="pres">
      <dgm:prSet presAssocID="{735FB97B-D0F7-4741-AB89-F11741E84B14}" presName="theInnerList" presStyleCnt="0"/>
      <dgm:spPr/>
    </dgm:pt>
    <dgm:pt modelId="{E445EB16-4891-47C6-AEF2-A7D0795F79F3}" type="pres">
      <dgm:prSet presAssocID="{FD5DB59C-9FF5-410D-8707-481E69193F7E}" presName="childNode" presStyleLbl="node1" presStyleIdx="0" presStyleCnt="4">
        <dgm:presLayoutVars>
          <dgm:bulletEnabled val="1"/>
        </dgm:presLayoutVars>
      </dgm:prSet>
      <dgm:spPr/>
    </dgm:pt>
    <dgm:pt modelId="{035D7850-1AC0-4BC7-A27F-241DE2AC845F}" type="pres">
      <dgm:prSet presAssocID="{FD5DB59C-9FF5-410D-8707-481E69193F7E}" presName="aSpace2" presStyleCnt="0"/>
      <dgm:spPr/>
    </dgm:pt>
    <dgm:pt modelId="{2EAF6E80-6D9C-4ECD-A2DA-3C8D59438B7D}" type="pres">
      <dgm:prSet presAssocID="{7F3784F7-1A49-44F0-A617-67696BAE0FDF}" presName="childNode" presStyleLbl="node1" presStyleIdx="1" presStyleCnt="4">
        <dgm:presLayoutVars>
          <dgm:bulletEnabled val="1"/>
        </dgm:presLayoutVars>
      </dgm:prSet>
      <dgm:spPr/>
    </dgm:pt>
    <dgm:pt modelId="{447745B7-F583-42FC-A3CC-68451C272103}" type="pres">
      <dgm:prSet presAssocID="{7F3784F7-1A49-44F0-A617-67696BAE0FDF}" presName="aSpace2" presStyleCnt="0"/>
      <dgm:spPr/>
    </dgm:pt>
    <dgm:pt modelId="{6BDC12A8-1D28-4F09-980A-40859E72119C}" type="pres">
      <dgm:prSet presAssocID="{6052AC7D-36CE-4004-94F6-C6284456C89E}" presName="childNode" presStyleLbl="node1" presStyleIdx="2" presStyleCnt="4">
        <dgm:presLayoutVars>
          <dgm:bulletEnabled val="1"/>
        </dgm:presLayoutVars>
      </dgm:prSet>
      <dgm:spPr/>
    </dgm:pt>
    <dgm:pt modelId="{BA00B0FC-BF20-4B63-BFA5-CF9C8F28891B}" type="pres">
      <dgm:prSet presAssocID="{6052AC7D-36CE-4004-94F6-C6284456C89E}" presName="aSpace2" presStyleCnt="0"/>
      <dgm:spPr/>
    </dgm:pt>
    <dgm:pt modelId="{20C5797E-20D6-451D-9FAF-1B56EEA97EFF}" type="pres">
      <dgm:prSet presAssocID="{432E41C6-C40D-4A76-87EE-5585BC649FDF}" presName="childNode" presStyleLbl="node1" presStyleIdx="3" presStyleCnt="4">
        <dgm:presLayoutVars>
          <dgm:bulletEnabled val="1"/>
        </dgm:presLayoutVars>
      </dgm:prSet>
      <dgm:spPr/>
    </dgm:pt>
  </dgm:ptLst>
  <dgm:cxnLst>
    <dgm:cxn modelId="{AA4D5641-E3F1-4E93-9B58-06612B826225}" type="presOf" srcId="{7F3784F7-1A49-44F0-A617-67696BAE0FDF}" destId="{2EAF6E80-6D9C-4ECD-A2DA-3C8D59438B7D}" srcOrd="0" destOrd="0" presId="urn:microsoft.com/office/officeart/2005/8/layout/lProcess2"/>
    <dgm:cxn modelId="{F0E06AFA-7523-464A-85D2-AA690A6D973B}" srcId="{735FB97B-D0F7-4741-AB89-F11741E84B14}" destId="{FD5DB59C-9FF5-410D-8707-481E69193F7E}" srcOrd="0" destOrd="0" parTransId="{5F647A0F-366E-4C46-8600-B9A112057884}" sibTransId="{DA97276E-5DD6-49DC-80A7-C83CD48E4740}"/>
    <dgm:cxn modelId="{55EDC503-165F-427F-BB04-1A7577F94B5B}" type="presOf" srcId="{6052AC7D-36CE-4004-94F6-C6284456C89E}" destId="{6BDC12A8-1D28-4F09-980A-40859E72119C}" srcOrd="0" destOrd="0" presId="urn:microsoft.com/office/officeart/2005/8/layout/lProcess2"/>
    <dgm:cxn modelId="{90ED015A-8650-424C-A587-1BA0A50E3007}" type="presOf" srcId="{432E41C6-C40D-4A76-87EE-5585BC649FDF}" destId="{20C5797E-20D6-451D-9FAF-1B56EEA97EFF}" srcOrd="0" destOrd="0" presId="urn:microsoft.com/office/officeart/2005/8/layout/lProcess2"/>
    <dgm:cxn modelId="{E7BEA160-EF08-4B4B-8A45-50FC55E2CC30}" type="presOf" srcId="{56199528-9307-4CD7-9964-6AB3751954FD}" destId="{2CDA8464-8D5C-4DDD-96B1-320789683F46}" srcOrd="0" destOrd="0" presId="urn:microsoft.com/office/officeart/2005/8/layout/lProcess2"/>
    <dgm:cxn modelId="{FC0651C4-6EF0-4AB7-BD9F-372204920412}" type="presOf" srcId="{735FB97B-D0F7-4741-AB89-F11741E84B14}" destId="{F59E0EA3-A4F5-4C4A-8589-4080FEB6AE85}" srcOrd="0" destOrd="0" presId="urn:microsoft.com/office/officeart/2005/8/layout/lProcess2"/>
    <dgm:cxn modelId="{F4839AFC-1311-4342-94CA-7BE2705BC4BE}" srcId="{56199528-9307-4CD7-9964-6AB3751954FD}" destId="{735FB97B-D0F7-4741-AB89-F11741E84B14}" srcOrd="0" destOrd="0" parTransId="{2C469F24-BABE-4C85-8EE3-B27543D50032}" sibTransId="{406B28D2-C777-4AE9-B60C-9A98B5BB2C1A}"/>
    <dgm:cxn modelId="{2994265F-7D1B-429B-BAEA-F7672A6B508D}" srcId="{735FB97B-D0F7-4741-AB89-F11741E84B14}" destId="{6052AC7D-36CE-4004-94F6-C6284456C89E}" srcOrd="2" destOrd="0" parTransId="{DF37459F-C2DE-48FA-8EA7-259DC1FA085F}" sibTransId="{A72EAF03-4493-4B7A-881A-C6501F9302B6}"/>
    <dgm:cxn modelId="{BBE4BF58-50A7-4E9F-895D-F541F822A1B4}" srcId="{735FB97B-D0F7-4741-AB89-F11741E84B14}" destId="{7F3784F7-1A49-44F0-A617-67696BAE0FDF}" srcOrd="1" destOrd="0" parTransId="{BAC3226E-D19A-4F9F-B7F6-827C07B090A7}" sibTransId="{6AA9BFD5-427F-4AC0-B649-1D4AD260A5C3}"/>
    <dgm:cxn modelId="{04E2FE31-D976-47E6-B2B4-7B663E4B4017}" srcId="{735FB97B-D0F7-4741-AB89-F11741E84B14}" destId="{432E41C6-C40D-4A76-87EE-5585BC649FDF}" srcOrd="3" destOrd="0" parTransId="{E4607002-E4FC-45FD-9F31-345A1F641440}" sibTransId="{8FC3F3D8-55F8-44FC-9F0F-11663000CD38}"/>
    <dgm:cxn modelId="{288AE55A-D12C-4AD0-9473-E00F78377075}" type="presOf" srcId="{735FB97B-D0F7-4741-AB89-F11741E84B14}" destId="{08509FB9-3113-4B15-BC42-129D906FFC3E}" srcOrd="1" destOrd="0" presId="urn:microsoft.com/office/officeart/2005/8/layout/lProcess2"/>
    <dgm:cxn modelId="{C1D2F016-EBF6-47D4-AB99-162BC2B03E21}" type="presOf" srcId="{FD5DB59C-9FF5-410D-8707-481E69193F7E}" destId="{E445EB16-4891-47C6-AEF2-A7D0795F79F3}" srcOrd="0" destOrd="0" presId="urn:microsoft.com/office/officeart/2005/8/layout/lProcess2"/>
    <dgm:cxn modelId="{8CA9444C-5B90-4AE8-BB56-5F60232A6B04}" type="presParOf" srcId="{2CDA8464-8D5C-4DDD-96B1-320789683F46}" destId="{AF553DE8-BD8C-43B4-82A1-EEDBFDE62E6C}" srcOrd="0" destOrd="0" presId="urn:microsoft.com/office/officeart/2005/8/layout/lProcess2"/>
    <dgm:cxn modelId="{55BB8E21-46B2-4995-A671-504C9D3E0BF4}" type="presParOf" srcId="{AF553DE8-BD8C-43B4-82A1-EEDBFDE62E6C}" destId="{F59E0EA3-A4F5-4C4A-8589-4080FEB6AE85}" srcOrd="0" destOrd="0" presId="urn:microsoft.com/office/officeart/2005/8/layout/lProcess2"/>
    <dgm:cxn modelId="{AAE6A5DC-2130-40FF-9808-BE8053AF69D8}" type="presParOf" srcId="{AF553DE8-BD8C-43B4-82A1-EEDBFDE62E6C}" destId="{08509FB9-3113-4B15-BC42-129D906FFC3E}" srcOrd="1" destOrd="0" presId="urn:microsoft.com/office/officeart/2005/8/layout/lProcess2"/>
    <dgm:cxn modelId="{C0C0F5B5-CC1D-4628-8C12-9B9D2F5C0BB1}" type="presParOf" srcId="{AF553DE8-BD8C-43B4-82A1-EEDBFDE62E6C}" destId="{066768E0-242F-46E0-871D-64787EA5326B}" srcOrd="2" destOrd="0" presId="urn:microsoft.com/office/officeart/2005/8/layout/lProcess2"/>
    <dgm:cxn modelId="{5256DD48-E52E-4A32-A035-CC13FC4A99DA}" type="presParOf" srcId="{066768E0-242F-46E0-871D-64787EA5326B}" destId="{ADC740C0-85A2-4E56-AE8C-780E3D48DB0C}" srcOrd="0" destOrd="0" presId="urn:microsoft.com/office/officeart/2005/8/layout/lProcess2"/>
    <dgm:cxn modelId="{C679836E-F268-49A3-B7CF-8F2A73F1B7AB}" type="presParOf" srcId="{ADC740C0-85A2-4E56-AE8C-780E3D48DB0C}" destId="{E445EB16-4891-47C6-AEF2-A7D0795F79F3}" srcOrd="0" destOrd="0" presId="urn:microsoft.com/office/officeart/2005/8/layout/lProcess2"/>
    <dgm:cxn modelId="{A7C353A8-74B2-4094-915B-B2CE918405D7}" type="presParOf" srcId="{ADC740C0-85A2-4E56-AE8C-780E3D48DB0C}" destId="{035D7850-1AC0-4BC7-A27F-241DE2AC845F}" srcOrd="1" destOrd="0" presId="urn:microsoft.com/office/officeart/2005/8/layout/lProcess2"/>
    <dgm:cxn modelId="{8AA7B82A-FDAA-46E3-8497-F77FD0E9B113}" type="presParOf" srcId="{ADC740C0-85A2-4E56-AE8C-780E3D48DB0C}" destId="{2EAF6E80-6D9C-4ECD-A2DA-3C8D59438B7D}" srcOrd="2" destOrd="0" presId="urn:microsoft.com/office/officeart/2005/8/layout/lProcess2"/>
    <dgm:cxn modelId="{F1F9CA10-B5D4-444E-B27A-D5EE3BE1F84E}" type="presParOf" srcId="{ADC740C0-85A2-4E56-AE8C-780E3D48DB0C}" destId="{447745B7-F583-42FC-A3CC-68451C272103}" srcOrd="3" destOrd="0" presId="urn:microsoft.com/office/officeart/2005/8/layout/lProcess2"/>
    <dgm:cxn modelId="{B9138D86-1C29-4633-86C9-F25C5461EA1C}" type="presParOf" srcId="{ADC740C0-85A2-4E56-AE8C-780E3D48DB0C}" destId="{6BDC12A8-1D28-4F09-980A-40859E72119C}" srcOrd="4" destOrd="0" presId="urn:microsoft.com/office/officeart/2005/8/layout/lProcess2"/>
    <dgm:cxn modelId="{4662DDF5-BE9C-4F33-998B-2E520F5BC568}" type="presParOf" srcId="{ADC740C0-85A2-4E56-AE8C-780E3D48DB0C}" destId="{BA00B0FC-BF20-4B63-BFA5-CF9C8F28891B}" srcOrd="5" destOrd="0" presId="urn:microsoft.com/office/officeart/2005/8/layout/lProcess2"/>
    <dgm:cxn modelId="{97A2783F-461E-4BAA-9A8F-DBE67EE1DB6F}" type="presParOf" srcId="{ADC740C0-85A2-4E56-AE8C-780E3D48DB0C}" destId="{20C5797E-20D6-451D-9FAF-1B56EEA97EFF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EB6E72B-1DB1-48B1-9812-42697ADE5D88}" type="doc">
      <dgm:prSet loTypeId="urn:microsoft.com/office/officeart/2005/8/layout/rings+Icon" loCatId="officeonline" qsTypeId="urn:microsoft.com/office/officeart/2005/8/quickstyle/simple1" qsCatId="simple" csTypeId="urn:microsoft.com/office/officeart/2005/8/colors/accent1_2" csCatId="accent1" phldr="1"/>
      <dgm:spPr/>
    </dgm:pt>
    <dgm:pt modelId="{684B4D4C-2677-4401-94A8-43DE27AFC678}">
      <dgm:prSet phldrT="[Text]"/>
      <dgm:spPr>
        <a:solidFill>
          <a:schemeClr val="accent6">
            <a:alpha val="50000"/>
          </a:schemeClr>
        </a:solidFill>
      </dgm:spPr>
      <dgm:t>
        <a:bodyPr/>
        <a:lstStyle/>
        <a:p>
          <a:r>
            <a:rPr lang="en-US" dirty="0"/>
            <a:t> </a:t>
          </a:r>
        </a:p>
      </dgm:t>
    </dgm:pt>
    <dgm:pt modelId="{26C3BF63-3127-48AD-91EF-9F89EA6A83A7}" type="parTrans" cxnId="{3242BD23-D994-48F6-8D08-626B5142A21C}">
      <dgm:prSet/>
      <dgm:spPr/>
      <dgm:t>
        <a:bodyPr/>
        <a:lstStyle/>
        <a:p>
          <a:endParaRPr lang="en-US"/>
        </a:p>
      </dgm:t>
    </dgm:pt>
    <dgm:pt modelId="{0812DD50-06EB-4100-9E99-38FBD07BF26E}" type="sibTrans" cxnId="{3242BD23-D994-48F6-8D08-626B5142A21C}">
      <dgm:prSet/>
      <dgm:spPr/>
      <dgm:t>
        <a:bodyPr/>
        <a:lstStyle/>
        <a:p>
          <a:endParaRPr lang="en-US"/>
        </a:p>
      </dgm:t>
    </dgm:pt>
    <dgm:pt modelId="{47BACF89-53C7-4893-81A3-854B67621A31}" type="pres">
      <dgm:prSet presAssocID="{EEB6E72B-1DB1-48B1-9812-42697ADE5D88}" presName="Name0" presStyleCnt="0">
        <dgm:presLayoutVars>
          <dgm:chMax val="7"/>
          <dgm:dir val="rev"/>
          <dgm:resizeHandles val="exact"/>
        </dgm:presLayoutVars>
      </dgm:prSet>
      <dgm:spPr/>
    </dgm:pt>
    <dgm:pt modelId="{15B00747-0E50-46EB-8C63-5AF18F74F7AE}" type="pres">
      <dgm:prSet presAssocID="{EEB6E72B-1DB1-48B1-9812-42697ADE5D88}" presName="ellipse1" presStyleLbl="vennNode1" presStyleIdx="0" presStyleCnt="1" custLinFactNeighborX="1305" custLinFactNeighborY="174">
        <dgm:presLayoutVars>
          <dgm:bulletEnabled val="1"/>
        </dgm:presLayoutVars>
      </dgm:prSet>
      <dgm:spPr/>
    </dgm:pt>
  </dgm:ptLst>
  <dgm:cxnLst>
    <dgm:cxn modelId="{3242BD23-D994-48F6-8D08-626B5142A21C}" srcId="{EEB6E72B-1DB1-48B1-9812-42697ADE5D88}" destId="{684B4D4C-2677-4401-94A8-43DE27AFC678}" srcOrd="0" destOrd="0" parTransId="{26C3BF63-3127-48AD-91EF-9F89EA6A83A7}" sibTransId="{0812DD50-06EB-4100-9E99-38FBD07BF26E}"/>
    <dgm:cxn modelId="{8B2700EA-FF11-4485-94B6-8FDBB3D2A91E}" type="presOf" srcId="{684B4D4C-2677-4401-94A8-43DE27AFC678}" destId="{15B00747-0E50-46EB-8C63-5AF18F74F7AE}" srcOrd="0" destOrd="0" presId="urn:microsoft.com/office/officeart/2005/8/layout/rings+Icon"/>
    <dgm:cxn modelId="{C2BEE340-31E8-43CD-AD26-EDFAA73371AE}" type="presOf" srcId="{EEB6E72B-1DB1-48B1-9812-42697ADE5D88}" destId="{47BACF89-53C7-4893-81A3-854B67621A31}" srcOrd="0" destOrd="0" presId="urn:microsoft.com/office/officeart/2005/8/layout/rings+Icon"/>
    <dgm:cxn modelId="{CFE27B6F-0C71-41F4-BAD3-5B1CD8C9EEA2}" type="presParOf" srcId="{47BACF89-53C7-4893-81A3-854B67621A31}" destId="{15B00747-0E50-46EB-8C63-5AF18F74F7AE}" srcOrd="0" destOrd="0" presId="urn:microsoft.com/office/officeart/2005/8/layout/rings+Icon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83D0ECD-C9C5-4180-871B-B18A16F848CA}" type="doc">
      <dgm:prSet loTypeId="urn:microsoft.com/office/officeart/2005/8/layout/rings+Icon" loCatId="officeonline" qsTypeId="urn:microsoft.com/office/officeart/2005/8/quickstyle/simple1" qsCatId="simple" csTypeId="urn:microsoft.com/office/officeart/2005/8/colors/accent3_5" csCatId="accent3" phldr="1"/>
      <dgm:spPr/>
    </dgm:pt>
    <dgm:pt modelId="{0DE2615F-50C0-4A77-920A-02183F35E3CF}" type="pres">
      <dgm:prSet presAssocID="{183D0ECD-C9C5-4180-871B-B18A16F848CA}" presName="Name0" presStyleCnt="0">
        <dgm:presLayoutVars>
          <dgm:chMax val="7"/>
          <dgm:dir/>
          <dgm:resizeHandles val="exact"/>
        </dgm:presLayoutVars>
      </dgm:prSet>
      <dgm:spPr/>
    </dgm:pt>
  </dgm:ptLst>
  <dgm:cxnLst>
    <dgm:cxn modelId="{5333628A-0520-43DF-A900-97812BA63A46}" type="presOf" srcId="{183D0ECD-C9C5-4180-871B-B18A16F848CA}" destId="{0DE2615F-50C0-4A77-920A-02183F35E3CF}" srcOrd="0" destOrd="0" presId="urn:microsoft.com/office/officeart/2005/8/layout/rings+Icon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5450CF-FE9E-40EE-9B65-98AD8846B87B}">
      <dsp:nvSpPr>
        <dsp:cNvPr id="0" name=""/>
        <dsp:cNvSpPr/>
      </dsp:nvSpPr>
      <dsp:spPr>
        <a:xfrm>
          <a:off x="767" y="282588"/>
          <a:ext cx="1794808" cy="897404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Education</a:t>
          </a:r>
        </a:p>
      </dsp:txBody>
      <dsp:txXfrm>
        <a:off x="27051" y="308872"/>
        <a:ext cx="1742240" cy="844836"/>
      </dsp:txXfrm>
    </dsp:sp>
    <dsp:sp modelId="{1225F68D-CBC0-4BFA-BBDD-2FAE4C348FC7}">
      <dsp:nvSpPr>
        <dsp:cNvPr id="0" name=""/>
        <dsp:cNvSpPr/>
      </dsp:nvSpPr>
      <dsp:spPr>
        <a:xfrm>
          <a:off x="180247" y="1179992"/>
          <a:ext cx="179480" cy="673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3053"/>
              </a:lnTo>
              <a:lnTo>
                <a:pt x="179480" y="673053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70B443-7EA5-4E94-843F-87C33DF71D74}">
      <dsp:nvSpPr>
        <dsp:cNvPr id="0" name=""/>
        <dsp:cNvSpPr/>
      </dsp:nvSpPr>
      <dsp:spPr>
        <a:xfrm>
          <a:off x="359728" y="1404343"/>
          <a:ext cx="1435846" cy="8974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Candidate of Engineering Sciences in Information Security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KHNURE, Ukraine</a:t>
          </a:r>
        </a:p>
      </dsp:txBody>
      <dsp:txXfrm>
        <a:off x="386012" y="1430627"/>
        <a:ext cx="1383278" cy="844836"/>
      </dsp:txXfrm>
    </dsp:sp>
    <dsp:sp modelId="{F5E59761-BB0F-466E-BDB5-0DB3F6AB4A75}">
      <dsp:nvSpPr>
        <dsp:cNvPr id="0" name=""/>
        <dsp:cNvSpPr/>
      </dsp:nvSpPr>
      <dsp:spPr>
        <a:xfrm>
          <a:off x="180247" y="1179992"/>
          <a:ext cx="179480" cy="1794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94808"/>
              </a:lnTo>
              <a:lnTo>
                <a:pt x="179480" y="179480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71C52B-117D-4C9B-BDA9-B04896C9AD74}">
      <dsp:nvSpPr>
        <dsp:cNvPr id="0" name=""/>
        <dsp:cNvSpPr/>
      </dsp:nvSpPr>
      <dsp:spPr>
        <a:xfrm>
          <a:off x="359728" y="2526098"/>
          <a:ext cx="1435846" cy="8974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1353146"/>
              <a:satOff val="8969"/>
              <a:lumOff val="-11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Ph.D. in Cryptology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University of Bergen, Norway</a:t>
          </a:r>
        </a:p>
      </dsp:txBody>
      <dsp:txXfrm>
        <a:off x="386012" y="2552382"/>
        <a:ext cx="1383278" cy="844836"/>
      </dsp:txXfrm>
    </dsp:sp>
    <dsp:sp modelId="{CA2299E3-0843-4ECE-8F65-3B6475C8FCE5}">
      <dsp:nvSpPr>
        <dsp:cNvPr id="0" name=""/>
        <dsp:cNvSpPr/>
      </dsp:nvSpPr>
      <dsp:spPr>
        <a:xfrm>
          <a:off x="2244277" y="282588"/>
          <a:ext cx="1794808" cy="897404"/>
        </a:xfrm>
        <a:prstGeom prst="roundRect">
          <a:avLst>
            <a:gd name="adj" fmla="val 10000"/>
          </a:avLst>
        </a:prstGeom>
        <a:solidFill>
          <a:schemeClr val="accent4">
            <a:hueOff val="-2706292"/>
            <a:satOff val="17937"/>
            <a:lumOff val="-22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Other</a:t>
          </a:r>
        </a:p>
      </dsp:txBody>
      <dsp:txXfrm>
        <a:off x="2270561" y="308872"/>
        <a:ext cx="1742240" cy="844836"/>
      </dsp:txXfrm>
    </dsp:sp>
    <dsp:sp modelId="{FBFA81AE-42D0-46F1-B611-953AD894ABF8}">
      <dsp:nvSpPr>
        <dsp:cNvPr id="0" name=""/>
        <dsp:cNvSpPr/>
      </dsp:nvSpPr>
      <dsp:spPr>
        <a:xfrm>
          <a:off x="2423758" y="1179992"/>
          <a:ext cx="179480" cy="673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3053"/>
              </a:lnTo>
              <a:lnTo>
                <a:pt x="179480" y="673053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92074D-2DFE-4E5C-920D-B220C3BD6AEA}">
      <dsp:nvSpPr>
        <dsp:cNvPr id="0" name=""/>
        <dsp:cNvSpPr/>
      </dsp:nvSpPr>
      <dsp:spPr>
        <a:xfrm>
          <a:off x="2603239" y="1404343"/>
          <a:ext cx="1435846" cy="8974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2706292"/>
              <a:satOff val="17937"/>
              <a:lumOff val="-225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Certificate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Certified Ethical Hacker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Certified Encryption Specialist</a:t>
          </a:r>
        </a:p>
      </dsp:txBody>
      <dsp:txXfrm>
        <a:off x="2629523" y="1430627"/>
        <a:ext cx="1383278" cy="844836"/>
      </dsp:txXfrm>
    </dsp:sp>
    <dsp:sp modelId="{D63F7E04-690B-4960-84FA-8EEC86693BE2}">
      <dsp:nvSpPr>
        <dsp:cNvPr id="0" name=""/>
        <dsp:cNvSpPr/>
      </dsp:nvSpPr>
      <dsp:spPr>
        <a:xfrm>
          <a:off x="2423758" y="1179992"/>
          <a:ext cx="179480" cy="17948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94808"/>
              </a:lnTo>
              <a:lnTo>
                <a:pt x="179480" y="179480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4D92A8-59D8-4C4F-BB01-A927BD5653AB}">
      <dsp:nvSpPr>
        <dsp:cNvPr id="0" name=""/>
        <dsp:cNvSpPr/>
      </dsp:nvSpPr>
      <dsp:spPr>
        <a:xfrm>
          <a:off x="2603239" y="2526098"/>
          <a:ext cx="1435846" cy="8974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4059437"/>
              <a:satOff val="26906"/>
              <a:lumOff val="-338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Standard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DSTU 7624:2014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/>
            <a:t>DSTU </a:t>
          </a:r>
          <a:r>
            <a:rPr lang="en-US" sz="900" kern="1200" dirty="0"/>
            <a:t>7564:2014</a:t>
          </a:r>
        </a:p>
      </dsp:txBody>
      <dsp:txXfrm>
        <a:off x="2629523" y="2552382"/>
        <a:ext cx="1383278" cy="844836"/>
      </dsp:txXfrm>
    </dsp:sp>
    <dsp:sp modelId="{5DD00C1D-48DC-42E8-BA3B-EC67C781AF7F}">
      <dsp:nvSpPr>
        <dsp:cNvPr id="0" name=""/>
        <dsp:cNvSpPr/>
      </dsp:nvSpPr>
      <dsp:spPr>
        <a:xfrm>
          <a:off x="4487788" y="282588"/>
          <a:ext cx="1794808" cy="897404"/>
        </a:xfrm>
        <a:prstGeom prst="roundRect">
          <a:avLst>
            <a:gd name="adj" fmla="val 10000"/>
          </a:avLst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Job</a:t>
          </a:r>
        </a:p>
      </dsp:txBody>
      <dsp:txXfrm>
        <a:off x="4514072" y="308872"/>
        <a:ext cx="1742240" cy="844836"/>
      </dsp:txXfrm>
    </dsp:sp>
    <dsp:sp modelId="{7C96ECD4-F81D-4EA2-A756-61A84B0BED24}">
      <dsp:nvSpPr>
        <dsp:cNvPr id="0" name=""/>
        <dsp:cNvSpPr/>
      </dsp:nvSpPr>
      <dsp:spPr>
        <a:xfrm>
          <a:off x="4667269" y="1179992"/>
          <a:ext cx="179480" cy="6730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3053"/>
              </a:lnTo>
              <a:lnTo>
                <a:pt x="179480" y="673053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21E5F7-2823-41C0-8B86-445F45F69999}">
      <dsp:nvSpPr>
        <dsp:cNvPr id="0" name=""/>
        <dsp:cNvSpPr/>
      </dsp:nvSpPr>
      <dsp:spPr>
        <a:xfrm>
          <a:off x="4846750" y="1404343"/>
          <a:ext cx="1435846" cy="8974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5412583"/>
              <a:satOff val="35875"/>
              <a:lumOff val="-451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Technical Test Analyst at EVRY</a:t>
          </a:r>
        </a:p>
      </dsp:txBody>
      <dsp:txXfrm>
        <a:off x="4873034" y="1430627"/>
        <a:ext cx="1383278" cy="84483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F85E29-52FB-41A4-B3CD-C58C48D8A193}">
      <dsp:nvSpPr>
        <dsp:cNvPr id="0" name=""/>
        <dsp:cNvSpPr/>
      </dsp:nvSpPr>
      <dsp:spPr>
        <a:xfrm>
          <a:off x="1286707" y="54952"/>
          <a:ext cx="2437821" cy="2437993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/>
        </a:p>
      </dsp:txBody>
      <dsp:txXfrm>
        <a:off x="1643718" y="411988"/>
        <a:ext cx="1723799" cy="1723921"/>
      </dsp:txXfrm>
    </dsp:sp>
    <dsp:sp modelId="{7295534F-3BE5-4EC8-9A70-70DF8A4FF700}">
      <dsp:nvSpPr>
        <dsp:cNvPr id="0" name=""/>
        <dsp:cNvSpPr/>
      </dsp:nvSpPr>
      <dsp:spPr>
        <a:xfrm>
          <a:off x="1825593" y="54963"/>
          <a:ext cx="2437821" cy="2437993"/>
        </a:xfrm>
        <a:prstGeom prst="ellipse">
          <a:avLst/>
        </a:prstGeom>
        <a:solidFill>
          <a:schemeClr val="accent4">
            <a:alpha val="50000"/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500" kern="1200" dirty="0"/>
        </a:p>
      </dsp:txBody>
      <dsp:txXfrm>
        <a:off x="2182604" y="411999"/>
        <a:ext cx="1723799" cy="1723921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7C2F44-8252-4198-8855-4C9A612EE4C3}">
      <dsp:nvSpPr>
        <dsp:cNvPr id="0" name=""/>
        <dsp:cNvSpPr/>
      </dsp:nvSpPr>
      <dsp:spPr>
        <a:xfrm>
          <a:off x="293769" y="0"/>
          <a:ext cx="5855774" cy="3659859"/>
        </a:xfrm>
        <a:prstGeom prst="swooshArrow">
          <a:avLst>
            <a:gd name="adj1" fmla="val 25000"/>
            <a:gd name="adj2" fmla="val 25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C2BEBA-066F-46E9-80A0-577BBF55FEB3}">
      <dsp:nvSpPr>
        <dsp:cNvPr id="0" name=""/>
        <dsp:cNvSpPr/>
      </dsp:nvSpPr>
      <dsp:spPr>
        <a:xfrm>
          <a:off x="863594" y="2721471"/>
          <a:ext cx="134682" cy="134682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6F22A2-0A16-492E-AD47-DC8901185577}">
      <dsp:nvSpPr>
        <dsp:cNvPr id="0" name=""/>
        <dsp:cNvSpPr/>
      </dsp:nvSpPr>
      <dsp:spPr>
        <a:xfrm>
          <a:off x="895002" y="2895067"/>
          <a:ext cx="1876776" cy="4922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366" tIns="0" rIns="0" bIns="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accent1"/>
              </a:solidFill>
            </a:rPr>
            <a:t>OWASP TOP 10</a:t>
          </a:r>
        </a:p>
      </dsp:txBody>
      <dsp:txXfrm>
        <a:off x="895002" y="2895067"/>
        <a:ext cx="1876776" cy="492271"/>
      </dsp:txXfrm>
    </dsp:sp>
    <dsp:sp modelId="{99346CAD-B9D1-424F-9910-C4F03FB31ECA}">
      <dsp:nvSpPr>
        <dsp:cNvPr id="0" name=""/>
        <dsp:cNvSpPr/>
      </dsp:nvSpPr>
      <dsp:spPr>
        <a:xfrm>
          <a:off x="1815157" y="1870187"/>
          <a:ext cx="234230" cy="234230"/>
        </a:xfrm>
        <a:prstGeom prst="ellipse">
          <a:avLst/>
        </a:prstGeom>
        <a:solidFill>
          <a:schemeClr val="accent4">
            <a:hueOff val="-1804194"/>
            <a:satOff val="11958"/>
            <a:lumOff val="-150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0E538B-36BE-4EDF-8C64-6F13416C2250}">
      <dsp:nvSpPr>
        <dsp:cNvPr id="0" name=""/>
        <dsp:cNvSpPr/>
      </dsp:nvSpPr>
      <dsp:spPr>
        <a:xfrm>
          <a:off x="1904727" y="2092883"/>
          <a:ext cx="1229712" cy="9902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4114" tIns="0" rIns="0" bIns="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accent1"/>
              </a:solidFill>
            </a:rPr>
            <a:t>EVRY</a:t>
          </a:r>
        </a:p>
      </dsp:txBody>
      <dsp:txXfrm>
        <a:off x="1904727" y="2092883"/>
        <a:ext cx="1229712" cy="990203"/>
      </dsp:txXfrm>
    </dsp:sp>
    <dsp:sp modelId="{C049265D-5209-4486-A5FA-B2D37AC1AA1D}">
      <dsp:nvSpPr>
        <dsp:cNvPr id="0" name=""/>
        <dsp:cNvSpPr/>
      </dsp:nvSpPr>
      <dsp:spPr>
        <a:xfrm>
          <a:off x="3030231" y="1242888"/>
          <a:ext cx="310356" cy="310356"/>
        </a:xfrm>
        <a:prstGeom prst="ellipse">
          <a:avLst/>
        </a:prstGeom>
        <a:solidFill>
          <a:schemeClr val="accent4">
            <a:hueOff val="-3608389"/>
            <a:satOff val="23917"/>
            <a:lumOff val="-30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3B427E-83AD-46CE-9E33-C3229E8F2032}">
      <dsp:nvSpPr>
        <dsp:cNvPr id="0" name=""/>
        <dsp:cNvSpPr/>
      </dsp:nvSpPr>
      <dsp:spPr>
        <a:xfrm>
          <a:off x="3134437" y="1574214"/>
          <a:ext cx="1229712" cy="6373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4451" tIns="0" rIns="0" bIns="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accent1"/>
              </a:solidFill>
            </a:rPr>
            <a:t>PCI DSS</a:t>
          </a:r>
        </a:p>
      </dsp:txBody>
      <dsp:txXfrm>
        <a:off x="3134437" y="1574214"/>
        <a:ext cx="1229712" cy="637327"/>
      </dsp:txXfrm>
    </dsp:sp>
    <dsp:sp modelId="{A5A1EAC4-FD8E-43A9-9FE7-49BD874D42AE}">
      <dsp:nvSpPr>
        <dsp:cNvPr id="0" name=""/>
        <dsp:cNvSpPr/>
      </dsp:nvSpPr>
      <dsp:spPr>
        <a:xfrm>
          <a:off x="4353636" y="827860"/>
          <a:ext cx="415759" cy="415759"/>
        </a:xfrm>
        <a:prstGeom prst="ellipse">
          <a:avLst/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299862-CA99-4B3D-99E5-0FCFEEC3DE54}">
      <dsp:nvSpPr>
        <dsp:cNvPr id="0" name=""/>
        <dsp:cNvSpPr/>
      </dsp:nvSpPr>
      <dsp:spPr>
        <a:xfrm>
          <a:off x="4441981" y="584614"/>
          <a:ext cx="1536193" cy="462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0303" tIns="0" rIns="0" bIns="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accent1"/>
              </a:solidFill>
            </a:rPr>
            <a:t>EVRY FS</a:t>
          </a:r>
        </a:p>
      </dsp:txBody>
      <dsp:txXfrm>
        <a:off x="4441981" y="584614"/>
        <a:ext cx="1536193" cy="462920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5C8577-F5DA-407E-886B-BD21017EBF78}">
      <dsp:nvSpPr>
        <dsp:cNvPr id="0" name=""/>
        <dsp:cNvSpPr/>
      </dsp:nvSpPr>
      <dsp:spPr>
        <a:xfrm>
          <a:off x="2037820" y="2912893"/>
          <a:ext cx="70048" cy="70048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6AA24DB-8E6F-46F7-B22F-5BDD57190465}">
      <dsp:nvSpPr>
        <dsp:cNvPr id="0" name=""/>
        <dsp:cNvSpPr/>
      </dsp:nvSpPr>
      <dsp:spPr>
        <a:xfrm>
          <a:off x="1881784" y="2984042"/>
          <a:ext cx="70048" cy="70048"/>
        </a:xfrm>
        <a:prstGeom prst="ellipse">
          <a:avLst/>
        </a:prstGeom>
        <a:solidFill>
          <a:schemeClr val="accent4">
            <a:hueOff val="-451049"/>
            <a:satOff val="2990"/>
            <a:lumOff val="-376"/>
            <a:alphaOff val="0"/>
          </a:schemeClr>
        </a:solidFill>
        <a:ln w="12700" cap="flat" cmpd="sng" algn="ctr">
          <a:solidFill>
            <a:schemeClr val="accent4">
              <a:hueOff val="-451049"/>
              <a:satOff val="2990"/>
              <a:lumOff val="-37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D18A8E-C009-4715-BA8B-2B1A86C4457C}">
      <dsp:nvSpPr>
        <dsp:cNvPr id="0" name=""/>
        <dsp:cNvSpPr/>
      </dsp:nvSpPr>
      <dsp:spPr>
        <a:xfrm>
          <a:off x="1721133" y="3042617"/>
          <a:ext cx="70048" cy="70048"/>
        </a:xfrm>
        <a:prstGeom prst="ellipse">
          <a:avLst/>
        </a:prstGeom>
        <a:solidFill>
          <a:schemeClr val="accent4">
            <a:hueOff val="-902097"/>
            <a:satOff val="5979"/>
            <a:lumOff val="-752"/>
            <a:alphaOff val="0"/>
          </a:schemeClr>
        </a:solidFill>
        <a:ln w="12700" cap="flat" cmpd="sng" algn="ctr">
          <a:solidFill>
            <a:schemeClr val="accent4">
              <a:hueOff val="-902097"/>
              <a:satOff val="5979"/>
              <a:lumOff val="-75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45C57C-AF46-46CB-8F03-EE7B042AA969}">
      <dsp:nvSpPr>
        <dsp:cNvPr id="0" name=""/>
        <dsp:cNvSpPr/>
      </dsp:nvSpPr>
      <dsp:spPr>
        <a:xfrm>
          <a:off x="1555869" y="3088285"/>
          <a:ext cx="70048" cy="70048"/>
        </a:xfrm>
        <a:prstGeom prst="ellipse">
          <a:avLst/>
        </a:prstGeom>
        <a:solidFill>
          <a:schemeClr val="accent4">
            <a:hueOff val="-1353146"/>
            <a:satOff val="8969"/>
            <a:lumOff val="-1128"/>
            <a:alphaOff val="0"/>
          </a:schemeClr>
        </a:solidFill>
        <a:ln w="12700" cap="flat" cmpd="sng" algn="ctr">
          <a:solidFill>
            <a:schemeClr val="accent4">
              <a:hueOff val="-1353146"/>
              <a:satOff val="8969"/>
              <a:lumOff val="-11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81BA7B-8289-46E7-858B-E53D49813020}">
      <dsp:nvSpPr>
        <dsp:cNvPr id="0" name=""/>
        <dsp:cNvSpPr/>
      </dsp:nvSpPr>
      <dsp:spPr>
        <a:xfrm>
          <a:off x="2767248" y="2318544"/>
          <a:ext cx="70048" cy="70048"/>
        </a:xfrm>
        <a:prstGeom prst="ellipse">
          <a:avLst/>
        </a:prstGeom>
        <a:solidFill>
          <a:schemeClr val="accent4">
            <a:hueOff val="-1804194"/>
            <a:satOff val="11958"/>
            <a:lumOff val="-1503"/>
            <a:alphaOff val="0"/>
          </a:schemeClr>
        </a:solidFill>
        <a:ln w="12700" cap="flat" cmpd="sng" algn="ctr">
          <a:solidFill>
            <a:schemeClr val="accent4">
              <a:hueOff val="-1804194"/>
              <a:satOff val="11958"/>
              <a:lumOff val="-150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4E4EE0-2829-43AA-A195-7C372C871460}">
      <dsp:nvSpPr>
        <dsp:cNvPr id="0" name=""/>
        <dsp:cNvSpPr/>
      </dsp:nvSpPr>
      <dsp:spPr>
        <a:xfrm>
          <a:off x="3183345" y="1446546"/>
          <a:ext cx="70048" cy="70048"/>
        </a:xfrm>
        <a:prstGeom prst="ellipse">
          <a:avLst/>
        </a:prstGeom>
        <a:solidFill>
          <a:schemeClr val="accent4">
            <a:hueOff val="-2255243"/>
            <a:satOff val="14948"/>
            <a:lumOff val="-1879"/>
            <a:alphaOff val="0"/>
          </a:schemeClr>
        </a:solidFill>
        <a:ln w="12700" cap="flat" cmpd="sng" algn="ctr">
          <a:solidFill>
            <a:schemeClr val="accent4">
              <a:hueOff val="-2255243"/>
              <a:satOff val="14948"/>
              <a:lumOff val="-187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BB7C8C-687C-4634-8688-84D2B134EF9A}">
      <dsp:nvSpPr>
        <dsp:cNvPr id="0" name=""/>
        <dsp:cNvSpPr/>
      </dsp:nvSpPr>
      <dsp:spPr>
        <a:xfrm>
          <a:off x="3070931" y="358452"/>
          <a:ext cx="70048" cy="70048"/>
        </a:xfrm>
        <a:prstGeom prst="ellipse">
          <a:avLst/>
        </a:prstGeom>
        <a:solidFill>
          <a:schemeClr val="accent4">
            <a:hueOff val="-2706292"/>
            <a:satOff val="17937"/>
            <a:lumOff val="-2255"/>
            <a:alphaOff val="0"/>
          </a:schemeClr>
        </a:solidFill>
        <a:ln w="12700" cap="flat" cmpd="sng" algn="ctr">
          <a:solidFill>
            <a:schemeClr val="accent4">
              <a:hueOff val="-2706292"/>
              <a:satOff val="17937"/>
              <a:lumOff val="-225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96D939-4310-4C75-8118-5A32FEE628EF}">
      <dsp:nvSpPr>
        <dsp:cNvPr id="0" name=""/>
        <dsp:cNvSpPr/>
      </dsp:nvSpPr>
      <dsp:spPr>
        <a:xfrm>
          <a:off x="3170761" y="287633"/>
          <a:ext cx="70048" cy="70048"/>
        </a:xfrm>
        <a:prstGeom prst="ellipse">
          <a:avLst/>
        </a:prstGeom>
        <a:solidFill>
          <a:schemeClr val="accent4">
            <a:hueOff val="-3157340"/>
            <a:satOff val="20927"/>
            <a:lumOff val="-2631"/>
            <a:alphaOff val="0"/>
          </a:schemeClr>
        </a:solidFill>
        <a:ln w="12700" cap="flat" cmpd="sng" algn="ctr">
          <a:solidFill>
            <a:schemeClr val="accent4">
              <a:hueOff val="-3157340"/>
              <a:satOff val="20927"/>
              <a:lumOff val="-263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C2632D-911D-4760-A6EF-4713C81F7B2D}">
      <dsp:nvSpPr>
        <dsp:cNvPr id="0" name=""/>
        <dsp:cNvSpPr/>
      </dsp:nvSpPr>
      <dsp:spPr>
        <a:xfrm>
          <a:off x="3270591" y="216814"/>
          <a:ext cx="70048" cy="70048"/>
        </a:xfrm>
        <a:prstGeom prst="ellipse">
          <a:avLst/>
        </a:prstGeom>
        <a:solidFill>
          <a:schemeClr val="accent4">
            <a:hueOff val="-3608389"/>
            <a:satOff val="23917"/>
            <a:lumOff val="-3007"/>
            <a:alphaOff val="0"/>
          </a:schemeClr>
        </a:solidFill>
        <a:ln w="12700" cap="flat" cmpd="sng" algn="ctr">
          <a:solidFill>
            <a:schemeClr val="accent4">
              <a:hueOff val="-3608389"/>
              <a:satOff val="23917"/>
              <a:lumOff val="-300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24B292-B58D-4DDE-8DEA-CD84A91844CF}">
      <dsp:nvSpPr>
        <dsp:cNvPr id="0" name=""/>
        <dsp:cNvSpPr/>
      </dsp:nvSpPr>
      <dsp:spPr>
        <a:xfrm>
          <a:off x="3370420" y="287633"/>
          <a:ext cx="70048" cy="70048"/>
        </a:xfrm>
        <a:prstGeom prst="ellipse">
          <a:avLst/>
        </a:prstGeom>
        <a:solidFill>
          <a:schemeClr val="accent4">
            <a:hueOff val="-4059437"/>
            <a:satOff val="26906"/>
            <a:lumOff val="-3383"/>
            <a:alphaOff val="0"/>
          </a:schemeClr>
        </a:solidFill>
        <a:ln w="12700" cap="flat" cmpd="sng" algn="ctr">
          <a:solidFill>
            <a:schemeClr val="accent4">
              <a:hueOff val="-4059437"/>
              <a:satOff val="26906"/>
              <a:lumOff val="-338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0CDB9E-FC0D-4369-9E90-1C5CF4B55505}">
      <dsp:nvSpPr>
        <dsp:cNvPr id="0" name=""/>
        <dsp:cNvSpPr/>
      </dsp:nvSpPr>
      <dsp:spPr>
        <a:xfrm>
          <a:off x="3470670" y="358452"/>
          <a:ext cx="70048" cy="70048"/>
        </a:xfrm>
        <a:prstGeom prst="ellipse">
          <a:avLst/>
        </a:prstGeom>
        <a:solidFill>
          <a:schemeClr val="accent4">
            <a:hueOff val="-4510486"/>
            <a:satOff val="29896"/>
            <a:lumOff val="-3758"/>
            <a:alphaOff val="0"/>
          </a:schemeClr>
        </a:solidFill>
        <a:ln w="12700" cap="flat" cmpd="sng" algn="ctr">
          <a:solidFill>
            <a:schemeClr val="accent4">
              <a:hueOff val="-4510486"/>
              <a:satOff val="29896"/>
              <a:lumOff val="-375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1E7FC8-E7BB-4C97-9FC9-D0DA8AA1734D}">
      <dsp:nvSpPr>
        <dsp:cNvPr id="0" name=""/>
        <dsp:cNvSpPr/>
      </dsp:nvSpPr>
      <dsp:spPr>
        <a:xfrm>
          <a:off x="3270591" y="366394"/>
          <a:ext cx="70048" cy="70048"/>
        </a:xfrm>
        <a:prstGeom prst="ellipse">
          <a:avLst/>
        </a:prstGeom>
        <a:solidFill>
          <a:schemeClr val="accent4">
            <a:hueOff val="-4961535"/>
            <a:satOff val="32885"/>
            <a:lumOff val="-4134"/>
            <a:alphaOff val="0"/>
          </a:schemeClr>
        </a:solidFill>
        <a:ln w="12700" cap="flat" cmpd="sng" algn="ctr">
          <a:solidFill>
            <a:schemeClr val="accent4">
              <a:hueOff val="-4961535"/>
              <a:satOff val="32885"/>
              <a:lumOff val="-413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025E44-C0D2-45EC-BAFA-1DDECDA9B00A}">
      <dsp:nvSpPr>
        <dsp:cNvPr id="0" name=""/>
        <dsp:cNvSpPr/>
      </dsp:nvSpPr>
      <dsp:spPr>
        <a:xfrm>
          <a:off x="3270591" y="515974"/>
          <a:ext cx="70048" cy="70048"/>
        </a:xfrm>
        <a:prstGeom prst="ellipse">
          <a:avLst/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accent4">
              <a:hueOff val="-5412583"/>
              <a:satOff val="35875"/>
              <a:lumOff val="-451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F19CEC-DA22-403A-808F-AD76E3A5E06C}">
      <dsp:nvSpPr>
        <dsp:cNvPr id="0" name=""/>
        <dsp:cNvSpPr/>
      </dsp:nvSpPr>
      <dsp:spPr>
        <a:xfrm>
          <a:off x="1156340" y="3228876"/>
          <a:ext cx="1507931" cy="404395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9179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ursory</a:t>
          </a:r>
        </a:p>
      </dsp:txBody>
      <dsp:txXfrm>
        <a:off x="1176081" y="3248617"/>
        <a:ext cx="1468449" cy="364913"/>
      </dsp:txXfrm>
    </dsp:sp>
    <dsp:sp modelId="{3DED6AD2-5E19-4882-9D1D-D811E1BDB48B}">
      <dsp:nvSpPr>
        <dsp:cNvPr id="0" name=""/>
        <dsp:cNvSpPr/>
      </dsp:nvSpPr>
      <dsp:spPr>
        <a:xfrm>
          <a:off x="738356" y="2832257"/>
          <a:ext cx="699227" cy="699252"/>
        </a:xfrm>
        <a:prstGeom prst="ellipse">
          <a:avLst/>
        </a:prstGeom>
        <a:solidFill>
          <a:schemeClr val="accent4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5305AF-B0C9-495A-A1A8-AAB23136F572}">
      <dsp:nvSpPr>
        <dsp:cNvPr id="0" name=""/>
        <dsp:cNvSpPr/>
      </dsp:nvSpPr>
      <dsp:spPr>
        <a:xfrm>
          <a:off x="2509914" y="2740755"/>
          <a:ext cx="1507931" cy="404395"/>
        </a:xfrm>
        <a:prstGeom prst="roundRect">
          <a:avLst/>
        </a:prstGeom>
        <a:solidFill>
          <a:schemeClr val="accent4">
            <a:hueOff val="-1804194"/>
            <a:satOff val="11958"/>
            <a:lumOff val="-150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9179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Opportunistic</a:t>
          </a:r>
        </a:p>
      </dsp:txBody>
      <dsp:txXfrm>
        <a:off x="2529655" y="2760496"/>
        <a:ext cx="1468449" cy="364913"/>
      </dsp:txXfrm>
    </dsp:sp>
    <dsp:sp modelId="{D9C39670-B49F-416C-91F7-85029BC424BC}">
      <dsp:nvSpPr>
        <dsp:cNvPr id="0" name=""/>
        <dsp:cNvSpPr/>
      </dsp:nvSpPr>
      <dsp:spPr>
        <a:xfrm>
          <a:off x="2091929" y="2344137"/>
          <a:ext cx="699227" cy="699252"/>
        </a:xfrm>
        <a:prstGeom prst="ellipse">
          <a:avLst/>
        </a:prstGeom>
        <a:solidFill>
          <a:schemeClr val="accent4">
            <a:tint val="50000"/>
            <a:hueOff val="-1601959"/>
            <a:satOff val="3712"/>
            <a:lumOff val="33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7185C8-3788-4F99-A0B2-F50ADAD5F94B}">
      <dsp:nvSpPr>
        <dsp:cNvPr id="0" name=""/>
        <dsp:cNvSpPr/>
      </dsp:nvSpPr>
      <dsp:spPr>
        <a:xfrm>
          <a:off x="3086241" y="1971015"/>
          <a:ext cx="1507931" cy="404395"/>
        </a:xfrm>
        <a:prstGeom prst="roundRect">
          <a:avLst/>
        </a:prstGeom>
        <a:solidFill>
          <a:schemeClr val="accent4">
            <a:hueOff val="-3608389"/>
            <a:satOff val="23917"/>
            <a:lumOff val="-30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9179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tandard</a:t>
          </a:r>
        </a:p>
      </dsp:txBody>
      <dsp:txXfrm>
        <a:off x="3105982" y="1990756"/>
        <a:ext cx="1468449" cy="364913"/>
      </dsp:txXfrm>
    </dsp:sp>
    <dsp:sp modelId="{718F6A20-5316-4437-BC6A-23604C3EB304}">
      <dsp:nvSpPr>
        <dsp:cNvPr id="0" name=""/>
        <dsp:cNvSpPr/>
      </dsp:nvSpPr>
      <dsp:spPr>
        <a:xfrm>
          <a:off x="2668257" y="1574396"/>
          <a:ext cx="699227" cy="699252"/>
        </a:xfrm>
        <a:prstGeom prst="ellipse">
          <a:avLst/>
        </a:prstGeom>
        <a:solidFill>
          <a:schemeClr val="accent4">
            <a:tint val="50000"/>
            <a:hueOff val="-3203919"/>
            <a:satOff val="7425"/>
            <a:lumOff val="6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DD5CB5-8F15-49C2-9524-C920895E577B}">
      <dsp:nvSpPr>
        <dsp:cNvPr id="0" name=""/>
        <dsp:cNvSpPr/>
      </dsp:nvSpPr>
      <dsp:spPr>
        <a:xfrm>
          <a:off x="3339171" y="1054010"/>
          <a:ext cx="1507931" cy="404395"/>
        </a:xfrm>
        <a:prstGeom prst="roundRect">
          <a:avLst/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9179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Advanced</a:t>
          </a:r>
        </a:p>
      </dsp:txBody>
      <dsp:txXfrm>
        <a:off x="3358912" y="1073751"/>
        <a:ext cx="1468449" cy="364913"/>
      </dsp:txXfrm>
    </dsp:sp>
    <dsp:sp modelId="{D4D8A53A-D0D3-4159-A1DB-26CB42056F65}">
      <dsp:nvSpPr>
        <dsp:cNvPr id="0" name=""/>
        <dsp:cNvSpPr/>
      </dsp:nvSpPr>
      <dsp:spPr>
        <a:xfrm>
          <a:off x="2921187" y="657392"/>
          <a:ext cx="699227" cy="699252"/>
        </a:xfrm>
        <a:prstGeom prst="ellipse">
          <a:avLst/>
        </a:prstGeom>
        <a:solidFill>
          <a:schemeClr val="accent4">
            <a:tint val="50000"/>
            <a:hueOff val="-4805878"/>
            <a:satOff val="11137"/>
            <a:lumOff val="9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A7E40E-0E02-4C85-A5D6-BE0E982B7A13}">
      <dsp:nvSpPr>
        <dsp:cNvPr id="0" name=""/>
        <dsp:cNvSpPr/>
      </dsp:nvSpPr>
      <dsp:spPr>
        <a:xfrm>
          <a:off x="6819" y="1582174"/>
          <a:ext cx="2038248" cy="122294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Requirements</a:t>
          </a:r>
        </a:p>
      </dsp:txBody>
      <dsp:txXfrm>
        <a:off x="42638" y="1617993"/>
        <a:ext cx="1966610" cy="1151310"/>
      </dsp:txXfrm>
    </dsp:sp>
    <dsp:sp modelId="{63101B15-A7BE-478E-BF09-73699C4F3779}">
      <dsp:nvSpPr>
        <dsp:cNvPr id="0" name=""/>
        <dsp:cNvSpPr/>
      </dsp:nvSpPr>
      <dsp:spPr>
        <a:xfrm>
          <a:off x="2234239" y="1641128"/>
          <a:ext cx="432108" cy="50548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/>
        </a:p>
      </dsp:txBody>
      <dsp:txXfrm>
        <a:off x="2234239" y="1742225"/>
        <a:ext cx="302476" cy="303291"/>
      </dsp:txXfrm>
    </dsp:sp>
    <dsp:sp modelId="{05A15DB5-577A-4383-8F0D-F1E491009276}">
      <dsp:nvSpPr>
        <dsp:cNvPr id="0" name=""/>
        <dsp:cNvSpPr/>
      </dsp:nvSpPr>
      <dsp:spPr>
        <a:xfrm>
          <a:off x="2860366" y="1582174"/>
          <a:ext cx="2038248" cy="122294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Level</a:t>
          </a:r>
        </a:p>
      </dsp:txBody>
      <dsp:txXfrm>
        <a:off x="2896185" y="1617993"/>
        <a:ext cx="1966610" cy="1151310"/>
      </dsp:txXfrm>
    </dsp:sp>
    <dsp:sp modelId="{0E0715D8-3FDB-49B0-88D6-19AFF0597112}">
      <dsp:nvSpPr>
        <dsp:cNvPr id="0" name=""/>
        <dsp:cNvSpPr/>
      </dsp:nvSpPr>
      <dsp:spPr>
        <a:xfrm>
          <a:off x="5095513" y="1615322"/>
          <a:ext cx="432108" cy="50548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5095513" y="1716419"/>
        <a:ext cx="302476" cy="303291"/>
      </dsp:txXfrm>
    </dsp:sp>
    <dsp:sp modelId="{E938938B-1910-4066-BEB3-8F09EDF4E2CF}">
      <dsp:nvSpPr>
        <dsp:cNvPr id="0" name=""/>
        <dsp:cNvSpPr/>
      </dsp:nvSpPr>
      <dsp:spPr>
        <a:xfrm>
          <a:off x="5713914" y="1582174"/>
          <a:ext cx="2038248" cy="122294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AUT</a:t>
          </a:r>
        </a:p>
      </dsp:txBody>
      <dsp:txXfrm>
        <a:off x="5749733" y="1617993"/>
        <a:ext cx="1966610" cy="1151310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998D32-BA64-4032-A83C-566EEB99D31F}">
      <dsp:nvSpPr>
        <dsp:cNvPr id="0" name=""/>
        <dsp:cNvSpPr/>
      </dsp:nvSpPr>
      <dsp:spPr>
        <a:xfrm>
          <a:off x="2442269" y="1698045"/>
          <a:ext cx="1211460" cy="1211460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NFT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Manager</a:t>
          </a:r>
        </a:p>
      </dsp:txBody>
      <dsp:txXfrm>
        <a:off x="2619683" y="1875459"/>
        <a:ext cx="856632" cy="856632"/>
      </dsp:txXfrm>
    </dsp:sp>
    <dsp:sp modelId="{B79D6334-4F12-4ECC-8828-28506251DBD7}">
      <dsp:nvSpPr>
        <dsp:cNvPr id="0" name=""/>
        <dsp:cNvSpPr/>
      </dsp:nvSpPr>
      <dsp:spPr>
        <a:xfrm rot="16267721">
          <a:off x="2935551" y="1256107"/>
          <a:ext cx="258064" cy="4118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2973498" y="1377188"/>
        <a:ext cx="180645" cy="247138"/>
      </dsp:txXfrm>
    </dsp:sp>
    <dsp:sp modelId="{DC3215AC-6DE6-4E68-9BB7-4E5947EEBF39}">
      <dsp:nvSpPr>
        <dsp:cNvPr id="0" name=""/>
        <dsp:cNvSpPr/>
      </dsp:nvSpPr>
      <dsp:spPr>
        <a:xfrm>
          <a:off x="2475724" y="0"/>
          <a:ext cx="1211460" cy="1211460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Project Manager</a:t>
          </a:r>
        </a:p>
      </dsp:txBody>
      <dsp:txXfrm>
        <a:off x="2653138" y="177414"/>
        <a:ext cx="856632" cy="856632"/>
      </dsp:txXfrm>
    </dsp:sp>
    <dsp:sp modelId="{2EF1EF4B-F704-4823-8C0A-253E052A77EA}">
      <dsp:nvSpPr>
        <dsp:cNvPr id="0" name=""/>
        <dsp:cNvSpPr/>
      </dsp:nvSpPr>
      <dsp:spPr>
        <a:xfrm rot="20520000">
          <a:off x="3719113" y="1838078"/>
          <a:ext cx="256623" cy="4118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-1353146"/>
            <a:satOff val="8969"/>
            <a:lumOff val="-112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720997" y="1932352"/>
        <a:ext cx="179636" cy="247138"/>
      </dsp:txXfrm>
    </dsp:sp>
    <dsp:sp modelId="{8A24D106-BD03-42EA-96C9-2017A5FCF310}">
      <dsp:nvSpPr>
        <dsp:cNvPr id="0" name=""/>
        <dsp:cNvSpPr/>
      </dsp:nvSpPr>
      <dsp:spPr>
        <a:xfrm>
          <a:off x="4054933" y="1174058"/>
          <a:ext cx="1211460" cy="1211460"/>
        </a:xfrm>
        <a:prstGeom prst="ellipse">
          <a:avLst/>
        </a:prstGeom>
        <a:solidFill>
          <a:schemeClr val="accent4">
            <a:hueOff val="-1353146"/>
            <a:satOff val="8969"/>
            <a:lumOff val="-11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Test </a:t>
          </a:r>
          <a:r>
            <a:rPr lang="en-US" sz="1300" kern="1200" dirty="0" err="1"/>
            <a:t>Env</a:t>
          </a:r>
          <a:endParaRPr lang="en-US" sz="1300" kern="1200" dirty="0"/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Manager</a:t>
          </a:r>
        </a:p>
      </dsp:txBody>
      <dsp:txXfrm>
        <a:off x="4232347" y="1351472"/>
        <a:ext cx="856632" cy="856632"/>
      </dsp:txXfrm>
    </dsp:sp>
    <dsp:sp modelId="{97AA6629-4E0D-4CD2-8967-DCFCC33824DE}">
      <dsp:nvSpPr>
        <dsp:cNvPr id="0" name=""/>
        <dsp:cNvSpPr/>
      </dsp:nvSpPr>
      <dsp:spPr>
        <a:xfrm rot="3240000">
          <a:off x="3413760" y="2777858"/>
          <a:ext cx="256623" cy="4118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-2706292"/>
            <a:satOff val="17937"/>
            <a:lumOff val="-225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429628" y="2829095"/>
        <a:ext cx="179636" cy="247138"/>
      </dsp:txXfrm>
    </dsp:sp>
    <dsp:sp modelId="{4C70FAF0-E586-4E2C-B501-3EE3DA5F41D7}">
      <dsp:nvSpPr>
        <dsp:cNvPr id="0" name=""/>
        <dsp:cNvSpPr/>
      </dsp:nvSpPr>
      <dsp:spPr>
        <a:xfrm>
          <a:off x="3438950" y="3069859"/>
          <a:ext cx="1211460" cy="1211460"/>
        </a:xfrm>
        <a:prstGeom prst="ellipse">
          <a:avLst/>
        </a:prstGeom>
        <a:solidFill>
          <a:schemeClr val="accent4">
            <a:hueOff val="-2706292"/>
            <a:satOff val="17937"/>
            <a:lumOff val="-22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Functional Test Manager</a:t>
          </a:r>
        </a:p>
      </dsp:txBody>
      <dsp:txXfrm>
        <a:off x="3616364" y="3247273"/>
        <a:ext cx="856632" cy="856632"/>
      </dsp:txXfrm>
    </dsp:sp>
    <dsp:sp modelId="{FD7D8C4A-6282-4C07-B4E7-D17C05AFA9C6}">
      <dsp:nvSpPr>
        <dsp:cNvPr id="0" name=""/>
        <dsp:cNvSpPr/>
      </dsp:nvSpPr>
      <dsp:spPr>
        <a:xfrm rot="7560000">
          <a:off x="2425616" y="2777858"/>
          <a:ext cx="256623" cy="4118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-4059437"/>
            <a:satOff val="26906"/>
            <a:lumOff val="-338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10800000">
        <a:off x="2486735" y="2829095"/>
        <a:ext cx="179636" cy="247138"/>
      </dsp:txXfrm>
    </dsp:sp>
    <dsp:sp modelId="{88FABDD7-C0A3-44FA-93A3-844313319D5E}">
      <dsp:nvSpPr>
        <dsp:cNvPr id="0" name=""/>
        <dsp:cNvSpPr/>
      </dsp:nvSpPr>
      <dsp:spPr>
        <a:xfrm>
          <a:off x="1445588" y="3069859"/>
          <a:ext cx="1211460" cy="1211460"/>
        </a:xfrm>
        <a:prstGeom prst="ellipse">
          <a:avLst/>
        </a:prstGeom>
        <a:solidFill>
          <a:schemeClr val="accent4">
            <a:hueOff val="-4059437"/>
            <a:satOff val="26906"/>
            <a:lumOff val="-33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Development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Manager</a:t>
          </a:r>
        </a:p>
      </dsp:txBody>
      <dsp:txXfrm>
        <a:off x="1623002" y="3247273"/>
        <a:ext cx="856632" cy="856632"/>
      </dsp:txXfrm>
    </dsp:sp>
    <dsp:sp modelId="{79A2B4C5-AF94-4437-9C98-7634A2B1D799}">
      <dsp:nvSpPr>
        <dsp:cNvPr id="0" name=""/>
        <dsp:cNvSpPr/>
      </dsp:nvSpPr>
      <dsp:spPr>
        <a:xfrm rot="11880000">
          <a:off x="2120263" y="1838078"/>
          <a:ext cx="256623" cy="4118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10800000">
        <a:off x="2195366" y="1932352"/>
        <a:ext cx="179636" cy="247138"/>
      </dsp:txXfrm>
    </dsp:sp>
    <dsp:sp modelId="{23885BDE-6939-4D59-8AFB-FBB21C20F81C}">
      <dsp:nvSpPr>
        <dsp:cNvPr id="0" name=""/>
        <dsp:cNvSpPr/>
      </dsp:nvSpPr>
      <dsp:spPr>
        <a:xfrm>
          <a:off x="829605" y="1174058"/>
          <a:ext cx="1211460" cy="1211460"/>
        </a:xfrm>
        <a:prstGeom prst="ellipse">
          <a:avLst/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Project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Architect</a:t>
          </a:r>
        </a:p>
      </dsp:txBody>
      <dsp:txXfrm>
        <a:off x="1007019" y="1351472"/>
        <a:ext cx="856632" cy="856632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2D0A7A-7A52-44D9-B151-C69C5FCB05B1}">
      <dsp:nvSpPr>
        <dsp:cNvPr id="0" name=""/>
        <dsp:cNvSpPr/>
      </dsp:nvSpPr>
      <dsp:spPr>
        <a:xfrm>
          <a:off x="1044698" y="135826"/>
          <a:ext cx="1807936" cy="1808211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108C95-2981-47D3-9BD1-2F7390B5B00C}">
      <dsp:nvSpPr>
        <dsp:cNvPr id="0" name=""/>
        <dsp:cNvSpPr/>
      </dsp:nvSpPr>
      <dsp:spPr>
        <a:xfrm>
          <a:off x="1444312" y="788646"/>
          <a:ext cx="1004635" cy="5021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NFT Manager</a:t>
          </a:r>
        </a:p>
      </dsp:txBody>
      <dsp:txXfrm>
        <a:off x="1444312" y="788646"/>
        <a:ext cx="1004635" cy="502197"/>
      </dsp:txXfrm>
    </dsp:sp>
    <dsp:sp modelId="{DBE392E6-649A-4CF4-A57D-1CC95177AE77}">
      <dsp:nvSpPr>
        <dsp:cNvPr id="0" name=""/>
        <dsp:cNvSpPr/>
      </dsp:nvSpPr>
      <dsp:spPr>
        <a:xfrm>
          <a:off x="542550" y="1174778"/>
          <a:ext cx="1807936" cy="1808211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4">
            <a:hueOff val="-2706292"/>
            <a:satOff val="17937"/>
            <a:lumOff val="-22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F16B095-36F3-4AC9-A86E-0C46BD0E16F2}">
      <dsp:nvSpPr>
        <dsp:cNvPr id="0" name=""/>
        <dsp:cNvSpPr/>
      </dsp:nvSpPr>
      <dsp:spPr>
        <a:xfrm>
          <a:off x="944201" y="1833607"/>
          <a:ext cx="1004635" cy="5021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NFT Coordinator</a:t>
          </a:r>
        </a:p>
      </dsp:txBody>
      <dsp:txXfrm>
        <a:off x="944201" y="1833607"/>
        <a:ext cx="1004635" cy="502197"/>
      </dsp:txXfrm>
    </dsp:sp>
    <dsp:sp modelId="{6A17378F-5ECC-4B79-BBE0-B58941E4550A}">
      <dsp:nvSpPr>
        <dsp:cNvPr id="0" name=""/>
        <dsp:cNvSpPr/>
      </dsp:nvSpPr>
      <dsp:spPr>
        <a:xfrm>
          <a:off x="1173376" y="2338058"/>
          <a:ext cx="1553297" cy="1553920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028FA2-C8F5-4F8E-A7DD-53F950747B25}">
      <dsp:nvSpPr>
        <dsp:cNvPr id="0" name=""/>
        <dsp:cNvSpPr/>
      </dsp:nvSpPr>
      <dsp:spPr>
        <a:xfrm>
          <a:off x="1446688" y="2880071"/>
          <a:ext cx="1004635" cy="5021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NFT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Analyst</a:t>
          </a:r>
        </a:p>
      </dsp:txBody>
      <dsp:txXfrm>
        <a:off x="1446688" y="2880071"/>
        <a:ext cx="1004635" cy="502197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9E667E-D66B-4499-8A26-A8F00B143C38}">
      <dsp:nvSpPr>
        <dsp:cNvPr id="0" name=""/>
        <dsp:cNvSpPr/>
      </dsp:nvSpPr>
      <dsp:spPr>
        <a:xfrm>
          <a:off x="0" y="0"/>
          <a:ext cx="3503061" cy="3778453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LoginSevice2</a:t>
          </a:r>
        </a:p>
      </dsp:txBody>
      <dsp:txXfrm>
        <a:off x="0" y="0"/>
        <a:ext cx="3503061" cy="1133535"/>
      </dsp:txXfrm>
    </dsp:sp>
    <dsp:sp modelId="{D55AE418-C6E8-4E53-B7E1-7D143A6EB305}">
      <dsp:nvSpPr>
        <dsp:cNvPr id="0" name=""/>
        <dsp:cNvSpPr/>
      </dsp:nvSpPr>
      <dsp:spPr>
        <a:xfrm>
          <a:off x="353947" y="1133628"/>
          <a:ext cx="2802449" cy="55044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LS2 stays in front of almost all applications</a:t>
          </a:r>
        </a:p>
      </dsp:txBody>
      <dsp:txXfrm>
        <a:off x="370069" y="1149750"/>
        <a:ext cx="2770205" cy="518196"/>
      </dsp:txXfrm>
    </dsp:sp>
    <dsp:sp modelId="{452A2050-6D64-4E58-9BA9-40F05C6B08B4}">
      <dsp:nvSpPr>
        <dsp:cNvPr id="0" name=""/>
        <dsp:cNvSpPr/>
      </dsp:nvSpPr>
      <dsp:spPr>
        <a:xfrm>
          <a:off x="353947" y="1768751"/>
          <a:ext cx="2802449" cy="550440"/>
        </a:xfrm>
        <a:prstGeom prst="roundRect">
          <a:avLst>
            <a:gd name="adj" fmla="val 10000"/>
          </a:avLst>
        </a:prstGeom>
        <a:solidFill>
          <a:schemeClr val="accent4">
            <a:hueOff val="-676573"/>
            <a:satOff val="4484"/>
            <a:lumOff val="-56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It is the first major security barrier</a:t>
          </a:r>
        </a:p>
      </dsp:txBody>
      <dsp:txXfrm>
        <a:off x="370069" y="1784873"/>
        <a:ext cx="2770205" cy="518196"/>
      </dsp:txXfrm>
    </dsp:sp>
    <dsp:sp modelId="{01C1D765-8244-46FB-8870-71D90966AD96}">
      <dsp:nvSpPr>
        <dsp:cNvPr id="0" name=""/>
        <dsp:cNvSpPr/>
      </dsp:nvSpPr>
      <dsp:spPr>
        <a:xfrm>
          <a:off x="353947" y="2403874"/>
          <a:ext cx="2802449" cy="550440"/>
        </a:xfrm>
        <a:prstGeom prst="roundRect">
          <a:avLst>
            <a:gd name="adj" fmla="val 10000"/>
          </a:avLst>
        </a:prstGeom>
        <a:solidFill>
          <a:schemeClr val="accent4">
            <a:hueOff val="-1353146"/>
            <a:satOff val="8969"/>
            <a:lumOff val="-11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LS2 helps to retrieve tokens (Secure Object or simply SO) and hand over it to the 3</a:t>
          </a:r>
          <a:r>
            <a:rPr lang="en-US" sz="1100" kern="1200" baseline="30000" dirty="0"/>
            <a:t>rd</a:t>
          </a:r>
          <a:r>
            <a:rPr lang="en-US" sz="1100" kern="1200" dirty="0"/>
            <a:t> party applications</a:t>
          </a:r>
        </a:p>
      </dsp:txBody>
      <dsp:txXfrm>
        <a:off x="370069" y="2419996"/>
        <a:ext cx="2770205" cy="518196"/>
      </dsp:txXfrm>
    </dsp:sp>
    <dsp:sp modelId="{3D78ADA2-272D-411C-B2B6-13D382D3CDE1}">
      <dsp:nvSpPr>
        <dsp:cNvPr id="0" name=""/>
        <dsp:cNvSpPr/>
      </dsp:nvSpPr>
      <dsp:spPr>
        <a:xfrm>
          <a:off x="353947" y="3038997"/>
          <a:ext cx="2802449" cy="550440"/>
        </a:xfrm>
        <a:prstGeom prst="roundRect">
          <a:avLst>
            <a:gd name="adj" fmla="val 10000"/>
          </a:avLst>
        </a:prstGeom>
        <a:solidFill>
          <a:schemeClr val="accent4">
            <a:hueOff val="-2029719"/>
            <a:satOff val="13453"/>
            <a:lumOff val="-169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Available through the Internet</a:t>
          </a:r>
        </a:p>
      </dsp:txBody>
      <dsp:txXfrm>
        <a:off x="370069" y="3055119"/>
        <a:ext cx="2770205" cy="518196"/>
      </dsp:txXfrm>
    </dsp:sp>
    <dsp:sp modelId="{EFCD26AF-3F31-489A-9E3F-A3CABBFA907F}">
      <dsp:nvSpPr>
        <dsp:cNvPr id="0" name=""/>
        <dsp:cNvSpPr/>
      </dsp:nvSpPr>
      <dsp:spPr>
        <a:xfrm>
          <a:off x="3769432" y="0"/>
          <a:ext cx="3503061" cy="3778453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Cardholder Client</a:t>
          </a:r>
        </a:p>
      </dsp:txBody>
      <dsp:txXfrm>
        <a:off x="3769432" y="0"/>
        <a:ext cx="3503061" cy="1133535"/>
      </dsp:txXfrm>
    </dsp:sp>
    <dsp:sp modelId="{E4E4779A-ABBB-49EF-9361-2A78548A1D84}">
      <dsp:nvSpPr>
        <dsp:cNvPr id="0" name=""/>
        <dsp:cNvSpPr/>
      </dsp:nvSpPr>
      <dsp:spPr>
        <a:xfrm>
          <a:off x="4119738" y="1134250"/>
          <a:ext cx="2802449" cy="437114"/>
        </a:xfrm>
        <a:prstGeom prst="roundRect">
          <a:avLst>
            <a:gd name="adj" fmla="val 10000"/>
          </a:avLst>
        </a:prstGeom>
        <a:solidFill>
          <a:schemeClr val="accent4">
            <a:hueOff val="-2706292"/>
            <a:satOff val="17937"/>
            <a:lumOff val="-22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CHC is a part of EVRY’s NetBank (Online banking)</a:t>
          </a:r>
        </a:p>
      </dsp:txBody>
      <dsp:txXfrm>
        <a:off x="4132541" y="1147053"/>
        <a:ext cx="2776843" cy="411508"/>
      </dsp:txXfrm>
    </dsp:sp>
    <dsp:sp modelId="{2FDB4016-6281-4CE7-B22E-75ECA9F233EA}">
      <dsp:nvSpPr>
        <dsp:cNvPr id="0" name=""/>
        <dsp:cNvSpPr/>
      </dsp:nvSpPr>
      <dsp:spPr>
        <a:xfrm>
          <a:off x="4119738" y="1638613"/>
          <a:ext cx="2802449" cy="437114"/>
        </a:xfrm>
        <a:prstGeom prst="roundRect">
          <a:avLst>
            <a:gd name="adj" fmla="val 10000"/>
          </a:avLst>
        </a:prstGeom>
        <a:solidFill>
          <a:schemeClr val="accent4">
            <a:hueOff val="-3382864"/>
            <a:satOff val="22422"/>
            <a:lumOff val="-281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It can be integrated with any 3rd party web application</a:t>
          </a:r>
        </a:p>
      </dsp:txBody>
      <dsp:txXfrm>
        <a:off x="4132541" y="1651416"/>
        <a:ext cx="2776843" cy="411508"/>
      </dsp:txXfrm>
    </dsp:sp>
    <dsp:sp modelId="{AB09A056-BD57-4C41-AA5C-A916E8F541AE}">
      <dsp:nvSpPr>
        <dsp:cNvPr id="0" name=""/>
        <dsp:cNvSpPr/>
      </dsp:nvSpPr>
      <dsp:spPr>
        <a:xfrm>
          <a:off x="4119738" y="2142976"/>
          <a:ext cx="2802449" cy="437114"/>
        </a:xfrm>
        <a:prstGeom prst="roundRect">
          <a:avLst>
            <a:gd name="adj" fmla="val 10000"/>
          </a:avLst>
        </a:prstGeom>
        <a:solidFill>
          <a:schemeClr val="accent4">
            <a:hueOff val="-4059437"/>
            <a:satOff val="26906"/>
            <a:lumOff val="-33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EVRY’s NetBank is protected by LoginsService2 in front of CHC</a:t>
          </a:r>
        </a:p>
      </dsp:txBody>
      <dsp:txXfrm>
        <a:off x="4132541" y="2155779"/>
        <a:ext cx="2776843" cy="411508"/>
      </dsp:txXfrm>
    </dsp:sp>
    <dsp:sp modelId="{CA0EE14C-E0CE-4B0E-92CE-1B9624A2E0BB}">
      <dsp:nvSpPr>
        <dsp:cNvPr id="0" name=""/>
        <dsp:cNvSpPr/>
      </dsp:nvSpPr>
      <dsp:spPr>
        <a:xfrm>
          <a:off x="4119738" y="2647338"/>
          <a:ext cx="2802449" cy="437114"/>
        </a:xfrm>
        <a:prstGeom prst="roundRect">
          <a:avLst>
            <a:gd name="adj" fmla="val 10000"/>
          </a:avLst>
        </a:prstGeom>
        <a:solidFill>
          <a:schemeClr val="accent4">
            <a:hueOff val="-4736010"/>
            <a:satOff val="31391"/>
            <a:lumOff val="-394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After logging in CHC uses SO as the main parameter in session management</a:t>
          </a:r>
        </a:p>
      </dsp:txBody>
      <dsp:txXfrm>
        <a:off x="4132541" y="2660141"/>
        <a:ext cx="2776843" cy="411508"/>
      </dsp:txXfrm>
    </dsp:sp>
    <dsp:sp modelId="{AD7350AB-7EB9-4720-905E-853297AC3C74}">
      <dsp:nvSpPr>
        <dsp:cNvPr id="0" name=""/>
        <dsp:cNvSpPr/>
      </dsp:nvSpPr>
      <dsp:spPr>
        <a:xfrm>
          <a:off x="4119738" y="3151701"/>
          <a:ext cx="2802449" cy="437114"/>
        </a:xfrm>
        <a:prstGeom prst="roundRect">
          <a:avLst>
            <a:gd name="adj" fmla="val 10000"/>
          </a:avLst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Available through the Internet</a:t>
          </a:r>
          <a:endParaRPr lang="en-US" sz="1100" kern="1200" dirty="0"/>
        </a:p>
      </dsp:txBody>
      <dsp:txXfrm>
        <a:off x="4132541" y="3164504"/>
        <a:ext cx="2776843" cy="411508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3BD074-F1DA-4E83-A600-0B0706F801DF}">
      <dsp:nvSpPr>
        <dsp:cNvPr id="0" name=""/>
        <dsp:cNvSpPr/>
      </dsp:nvSpPr>
      <dsp:spPr>
        <a:xfrm>
          <a:off x="1587" y="1631156"/>
          <a:ext cx="1603374" cy="8016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6 month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(1 year by PCI DSS)</a:t>
          </a:r>
        </a:p>
      </dsp:txBody>
      <dsp:txXfrm>
        <a:off x="25068" y="1654637"/>
        <a:ext cx="1556412" cy="754725"/>
      </dsp:txXfrm>
    </dsp:sp>
    <dsp:sp modelId="{093E687E-CED2-48DF-93C2-47EAC890136B}">
      <dsp:nvSpPr>
        <dsp:cNvPr id="0" name=""/>
        <dsp:cNvSpPr/>
      </dsp:nvSpPr>
      <dsp:spPr>
        <a:xfrm rot="17692822">
          <a:off x="1163441" y="1322790"/>
          <a:ext cx="1524392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1524392" y="17753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887527" y="1302434"/>
        <a:ext cx="76219" cy="76219"/>
      </dsp:txXfrm>
    </dsp:sp>
    <dsp:sp modelId="{936420ED-5053-4065-B448-F2B592EEE115}">
      <dsp:nvSpPr>
        <dsp:cNvPr id="0" name=""/>
        <dsp:cNvSpPr/>
      </dsp:nvSpPr>
      <dsp:spPr>
        <a:xfrm>
          <a:off x="2246312" y="248245"/>
          <a:ext cx="1603374" cy="801687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No or minor changes</a:t>
          </a:r>
        </a:p>
      </dsp:txBody>
      <dsp:txXfrm>
        <a:off x="2269793" y="271726"/>
        <a:ext cx="1556412" cy="754725"/>
      </dsp:txXfrm>
    </dsp:sp>
    <dsp:sp modelId="{1CE5FDBE-4632-4495-83F7-260E492CDBA3}">
      <dsp:nvSpPr>
        <dsp:cNvPr id="0" name=""/>
        <dsp:cNvSpPr/>
      </dsp:nvSpPr>
      <dsp:spPr>
        <a:xfrm>
          <a:off x="3849687" y="631335"/>
          <a:ext cx="641350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641350" y="17753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4328" y="633055"/>
        <a:ext cx="32067" cy="32067"/>
      </dsp:txXfrm>
    </dsp:sp>
    <dsp:sp modelId="{B3394F2E-6EFF-4AE4-8C1D-1AA54AA52F31}">
      <dsp:nvSpPr>
        <dsp:cNvPr id="0" name=""/>
        <dsp:cNvSpPr/>
      </dsp:nvSpPr>
      <dsp:spPr>
        <a:xfrm>
          <a:off x="4491037" y="248245"/>
          <a:ext cx="1603374" cy="801687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Security assessment</a:t>
          </a:r>
        </a:p>
      </dsp:txBody>
      <dsp:txXfrm>
        <a:off x="4514518" y="271726"/>
        <a:ext cx="1556412" cy="754725"/>
      </dsp:txXfrm>
    </dsp:sp>
    <dsp:sp modelId="{F7FD2AB5-361B-4060-912C-316F9A54200E}">
      <dsp:nvSpPr>
        <dsp:cNvPr id="0" name=""/>
        <dsp:cNvSpPr/>
      </dsp:nvSpPr>
      <dsp:spPr>
        <a:xfrm>
          <a:off x="1604962" y="2014246"/>
          <a:ext cx="641349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641349" y="17753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909603" y="2015966"/>
        <a:ext cx="32067" cy="32067"/>
      </dsp:txXfrm>
    </dsp:sp>
    <dsp:sp modelId="{FCB6F7D3-D187-40EE-9F73-548E11C6C72E}">
      <dsp:nvSpPr>
        <dsp:cNvPr id="0" name=""/>
        <dsp:cNvSpPr/>
      </dsp:nvSpPr>
      <dsp:spPr>
        <a:xfrm>
          <a:off x="2246312" y="1631156"/>
          <a:ext cx="1603374" cy="801687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Application update</a:t>
          </a:r>
        </a:p>
      </dsp:txBody>
      <dsp:txXfrm>
        <a:off x="2269793" y="1654637"/>
        <a:ext cx="1556412" cy="754725"/>
      </dsp:txXfrm>
    </dsp:sp>
    <dsp:sp modelId="{40FFD530-A26F-452F-AF0F-E00858568E61}">
      <dsp:nvSpPr>
        <dsp:cNvPr id="0" name=""/>
        <dsp:cNvSpPr/>
      </dsp:nvSpPr>
      <dsp:spPr>
        <a:xfrm rot="19457599">
          <a:off x="3775450" y="1783760"/>
          <a:ext cx="789824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789824" y="17753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0616" y="1781769"/>
        <a:ext cx="39491" cy="39491"/>
      </dsp:txXfrm>
    </dsp:sp>
    <dsp:sp modelId="{7ACD03A5-66A7-45A0-897A-DEC258147700}">
      <dsp:nvSpPr>
        <dsp:cNvPr id="0" name=""/>
        <dsp:cNvSpPr/>
      </dsp:nvSpPr>
      <dsp:spPr>
        <a:xfrm>
          <a:off x="4491037" y="1170185"/>
          <a:ext cx="1603374" cy="801687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Partial</a:t>
          </a:r>
        </a:p>
      </dsp:txBody>
      <dsp:txXfrm>
        <a:off x="4514518" y="1193666"/>
        <a:ext cx="1556412" cy="754725"/>
      </dsp:txXfrm>
    </dsp:sp>
    <dsp:sp modelId="{C0BE7AFB-ADFF-4C7F-8AFC-28BEC6570A45}">
      <dsp:nvSpPr>
        <dsp:cNvPr id="0" name=""/>
        <dsp:cNvSpPr/>
      </dsp:nvSpPr>
      <dsp:spPr>
        <a:xfrm rot="2142401">
          <a:off x="3775450" y="2244731"/>
          <a:ext cx="789824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789824" y="17753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0616" y="2242739"/>
        <a:ext cx="39491" cy="39491"/>
      </dsp:txXfrm>
    </dsp:sp>
    <dsp:sp modelId="{50CB24DD-E7B5-416F-9602-61404DABD41A}">
      <dsp:nvSpPr>
        <dsp:cNvPr id="0" name=""/>
        <dsp:cNvSpPr/>
      </dsp:nvSpPr>
      <dsp:spPr>
        <a:xfrm>
          <a:off x="4491037" y="2092126"/>
          <a:ext cx="1603374" cy="801687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Full</a:t>
          </a:r>
        </a:p>
      </dsp:txBody>
      <dsp:txXfrm>
        <a:off x="4514518" y="2115607"/>
        <a:ext cx="1556412" cy="754725"/>
      </dsp:txXfrm>
    </dsp:sp>
    <dsp:sp modelId="{C3FF6C36-3A9A-4C0B-BEC7-35450606D02E}">
      <dsp:nvSpPr>
        <dsp:cNvPr id="0" name=""/>
        <dsp:cNvSpPr/>
      </dsp:nvSpPr>
      <dsp:spPr>
        <a:xfrm rot="3907178">
          <a:off x="1163441" y="2705701"/>
          <a:ext cx="1524392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1524392" y="17753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887527" y="2685345"/>
        <a:ext cx="76219" cy="76219"/>
      </dsp:txXfrm>
    </dsp:sp>
    <dsp:sp modelId="{A182C9B7-2867-44BA-8C0C-D96A9EADA08F}">
      <dsp:nvSpPr>
        <dsp:cNvPr id="0" name=""/>
        <dsp:cNvSpPr/>
      </dsp:nvSpPr>
      <dsp:spPr>
        <a:xfrm>
          <a:off x="2246312" y="3014067"/>
          <a:ext cx="1603374" cy="801687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New functionality</a:t>
          </a:r>
        </a:p>
      </dsp:txBody>
      <dsp:txXfrm>
        <a:off x="2269793" y="3037548"/>
        <a:ext cx="1556412" cy="754725"/>
      </dsp:txXfrm>
    </dsp:sp>
    <dsp:sp modelId="{CD5FC485-9ECE-49CA-92C3-0A02B577AA94}">
      <dsp:nvSpPr>
        <dsp:cNvPr id="0" name=""/>
        <dsp:cNvSpPr/>
      </dsp:nvSpPr>
      <dsp:spPr>
        <a:xfrm>
          <a:off x="3849687" y="3397157"/>
          <a:ext cx="641350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641350" y="17753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4328" y="3398877"/>
        <a:ext cx="32067" cy="32067"/>
      </dsp:txXfrm>
    </dsp:sp>
    <dsp:sp modelId="{16776F8D-BADD-4FAD-8F4B-AAFD497EE069}">
      <dsp:nvSpPr>
        <dsp:cNvPr id="0" name=""/>
        <dsp:cNvSpPr/>
      </dsp:nvSpPr>
      <dsp:spPr>
        <a:xfrm>
          <a:off x="4491037" y="3014067"/>
          <a:ext cx="1603374" cy="801687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Full </a:t>
          </a:r>
          <a:r>
            <a:rPr lang="en-US" sz="2200" kern="1200" dirty="0" err="1"/>
            <a:t>pentest</a:t>
          </a:r>
          <a:endParaRPr lang="en-US" sz="2200" kern="1200" dirty="0"/>
        </a:p>
      </dsp:txBody>
      <dsp:txXfrm>
        <a:off x="4514518" y="3037548"/>
        <a:ext cx="1556412" cy="75472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C6B58C-3710-4AE3-8C2C-FD16F3498EFB}">
      <dsp:nvSpPr>
        <dsp:cNvPr id="0" name=""/>
        <dsp:cNvSpPr/>
      </dsp:nvSpPr>
      <dsp:spPr>
        <a:xfrm>
          <a:off x="898" y="0"/>
          <a:ext cx="2335031" cy="3810417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Performance</a:t>
          </a:r>
        </a:p>
      </dsp:txBody>
      <dsp:txXfrm>
        <a:off x="898" y="0"/>
        <a:ext cx="2335031" cy="1143125"/>
      </dsp:txXfrm>
    </dsp:sp>
    <dsp:sp modelId="{47C25420-8EBA-4AF9-AF1F-F81C59C6BCC3}">
      <dsp:nvSpPr>
        <dsp:cNvPr id="0" name=""/>
        <dsp:cNvSpPr/>
      </dsp:nvSpPr>
      <dsp:spPr>
        <a:xfrm>
          <a:off x="234401" y="1143846"/>
          <a:ext cx="1868025" cy="440812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Front-end</a:t>
          </a:r>
        </a:p>
      </dsp:txBody>
      <dsp:txXfrm>
        <a:off x="247312" y="1156757"/>
        <a:ext cx="1842203" cy="414990"/>
      </dsp:txXfrm>
    </dsp:sp>
    <dsp:sp modelId="{3653B4AF-25DD-4FD6-BF11-B9FBA02CF1C5}">
      <dsp:nvSpPr>
        <dsp:cNvPr id="0" name=""/>
        <dsp:cNvSpPr/>
      </dsp:nvSpPr>
      <dsp:spPr>
        <a:xfrm>
          <a:off x="234401" y="1652475"/>
          <a:ext cx="1868025" cy="440812"/>
        </a:xfrm>
        <a:prstGeom prst="roundRect">
          <a:avLst>
            <a:gd name="adj" fmla="val 10000"/>
          </a:avLst>
        </a:prstGeom>
        <a:solidFill>
          <a:schemeClr val="accent4">
            <a:hueOff val="-451049"/>
            <a:satOff val="2990"/>
            <a:lumOff val="-3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Load</a:t>
          </a:r>
        </a:p>
      </dsp:txBody>
      <dsp:txXfrm>
        <a:off x="247312" y="1665386"/>
        <a:ext cx="1842203" cy="414990"/>
      </dsp:txXfrm>
    </dsp:sp>
    <dsp:sp modelId="{EA205839-FDEC-4749-86CF-5B0FCF16BA27}">
      <dsp:nvSpPr>
        <dsp:cNvPr id="0" name=""/>
        <dsp:cNvSpPr/>
      </dsp:nvSpPr>
      <dsp:spPr>
        <a:xfrm>
          <a:off x="234401" y="2161104"/>
          <a:ext cx="1868025" cy="440812"/>
        </a:xfrm>
        <a:prstGeom prst="roundRect">
          <a:avLst>
            <a:gd name="adj" fmla="val 10000"/>
          </a:avLst>
        </a:prstGeom>
        <a:solidFill>
          <a:schemeClr val="accent4">
            <a:hueOff val="-902097"/>
            <a:satOff val="5979"/>
            <a:lumOff val="-75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Endurance</a:t>
          </a:r>
        </a:p>
      </dsp:txBody>
      <dsp:txXfrm>
        <a:off x="247312" y="2174015"/>
        <a:ext cx="1842203" cy="414990"/>
      </dsp:txXfrm>
    </dsp:sp>
    <dsp:sp modelId="{80A98F77-4DC6-4AFD-A471-53ED5590135B}">
      <dsp:nvSpPr>
        <dsp:cNvPr id="0" name=""/>
        <dsp:cNvSpPr/>
      </dsp:nvSpPr>
      <dsp:spPr>
        <a:xfrm>
          <a:off x="234401" y="2669733"/>
          <a:ext cx="1868025" cy="440812"/>
        </a:xfrm>
        <a:prstGeom prst="roundRect">
          <a:avLst>
            <a:gd name="adj" fmla="val 10000"/>
          </a:avLst>
        </a:prstGeom>
        <a:solidFill>
          <a:schemeClr val="accent4">
            <a:hueOff val="-1353146"/>
            <a:satOff val="8969"/>
            <a:lumOff val="-11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tress</a:t>
          </a:r>
        </a:p>
      </dsp:txBody>
      <dsp:txXfrm>
        <a:off x="247312" y="2682644"/>
        <a:ext cx="1842203" cy="414990"/>
      </dsp:txXfrm>
    </dsp:sp>
    <dsp:sp modelId="{82736933-D101-4418-BC42-18054EFCD8A3}">
      <dsp:nvSpPr>
        <dsp:cNvPr id="0" name=""/>
        <dsp:cNvSpPr/>
      </dsp:nvSpPr>
      <dsp:spPr>
        <a:xfrm>
          <a:off x="234401" y="3178363"/>
          <a:ext cx="1868025" cy="440812"/>
        </a:xfrm>
        <a:prstGeom prst="roundRect">
          <a:avLst>
            <a:gd name="adj" fmla="val 10000"/>
          </a:avLst>
        </a:prstGeom>
        <a:solidFill>
          <a:schemeClr val="accent4">
            <a:hueOff val="-1804194"/>
            <a:satOff val="11958"/>
            <a:lumOff val="-150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pike</a:t>
          </a:r>
        </a:p>
      </dsp:txBody>
      <dsp:txXfrm>
        <a:off x="247312" y="3191274"/>
        <a:ext cx="1842203" cy="414990"/>
      </dsp:txXfrm>
    </dsp:sp>
    <dsp:sp modelId="{EC9D7D22-8B8A-44F3-8AB5-ED713D558AB4}">
      <dsp:nvSpPr>
        <dsp:cNvPr id="0" name=""/>
        <dsp:cNvSpPr/>
      </dsp:nvSpPr>
      <dsp:spPr>
        <a:xfrm>
          <a:off x="2511056" y="0"/>
          <a:ext cx="2335031" cy="3810417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Reliability</a:t>
          </a:r>
        </a:p>
      </dsp:txBody>
      <dsp:txXfrm>
        <a:off x="2511056" y="0"/>
        <a:ext cx="2335031" cy="1143125"/>
      </dsp:txXfrm>
    </dsp:sp>
    <dsp:sp modelId="{AFC79A4E-62B9-408C-A604-A7B3B8B1D63C}">
      <dsp:nvSpPr>
        <dsp:cNvPr id="0" name=""/>
        <dsp:cNvSpPr/>
      </dsp:nvSpPr>
      <dsp:spPr>
        <a:xfrm>
          <a:off x="2744559" y="1143218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2255243"/>
            <a:satOff val="14948"/>
            <a:lumOff val="-187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Failover</a:t>
          </a:r>
        </a:p>
      </dsp:txBody>
      <dsp:txXfrm>
        <a:off x="2760817" y="1159476"/>
        <a:ext cx="1835509" cy="522580"/>
      </dsp:txXfrm>
    </dsp:sp>
    <dsp:sp modelId="{5D8D98A1-3898-47C5-85DB-543452396AA1}">
      <dsp:nvSpPr>
        <dsp:cNvPr id="0" name=""/>
        <dsp:cNvSpPr/>
      </dsp:nvSpPr>
      <dsp:spPr>
        <a:xfrm>
          <a:off x="2744559" y="1783714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2706292"/>
            <a:satOff val="17937"/>
            <a:lumOff val="-22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Interruption</a:t>
          </a:r>
          <a:endParaRPr lang="en-US" sz="1800" kern="1200" dirty="0"/>
        </a:p>
      </dsp:txBody>
      <dsp:txXfrm>
        <a:off x="2760817" y="1799972"/>
        <a:ext cx="1835509" cy="522580"/>
      </dsp:txXfrm>
    </dsp:sp>
    <dsp:sp modelId="{E695D911-26E1-4E9C-9CAC-B3FB519F0D87}">
      <dsp:nvSpPr>
        <dsp:cNvPr id="0" name=""/>
        <dsp:cNvSpPr/>
      </dsp:nvSpPr>
      <dsp:spPr>
        <a:xfrm>
          <a:off x="2744559" y="2424210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3157340"/>
            <a:satOff val="20927"/>
            <a:lumOff val="-263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/>
            <a:t>Recoverability</a:t>
          </a:r>
          <a:endParaRPr lang="en-US" sz="1800" kern="1200" dirty="0"/>
        </a:p>
      </dsp:txBody>
      <dsp:txXfrm>
        <a:off x="2760817" y="2440468"/>
        <a:ext cx="1835509" cy="522580"/>
      </dsp:txXfrm>
    </dsp:sp>
    <dsp:sp modelId="{70A1ABAE-B933-46AA-A112-3F923668F3AF}">
      <dsp:nvSpPr>
        <dsp:cNvPr id="0" name=""/>
        <dsp:cNvSpPr/>
      </dsp:nvSpPr>
      <dsp:spPr>
        <a:xfrm>
          <a:off x="2744559" y="3064706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3608389"/>
            <a:satOff val="23917"/>
            <a:lumOff val="-30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/>
            <a:t>Load balancing</a:t>
          </a:r>
          <a:endParaRPr lang="en-US" sz="1800" kern="1200" dirty="0"/>
        </a:p>
      </dsp:txBody>
      <dsp:txXfrm>
        <a:off x="2760817" y="3080964"/>
        <a:ext cx="1835509" cy="522580"/>
      </dsp:txXfrm>
    </dsp:sp>
    <dsp:sp modelId="{E4ED622B-E0D2-4A00-82DF-CDC604181BD0}">
      <dsp:nvSpPr>
        <dsp:cNvPr id="0" name=""/>
        <dsp:cNvSpPr/>
      </dsp:nvSpPr>
      <dsp:spPr>
        <a:xfrm>
          <a:off x="5021215" y="0"/>
          <a:ext cx="2335031" cy="3810417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Security</a:t>
          </a:r>
        </a:p>
      </dsp:txBody>
      <dsp:txXfrm>
        <a:off x="5021215" y="0"/>
        <a:ext cx="2335031" cy="1143125"/>
      </dsp:txXfrm>
    </dsp:sp>
    <dsp:sp modelId="{ACB3DFCF-00BF-4285-A982-C2A0CA69C802}">
      <dsp:nvSpPr>
        <dsp:cNvPr id="0" name=""/>
        <dsp:cNvSpPr/>
      </dsp:nvSpPr>
      <dsp:spPr>
        <a:xfrm>
          <a:off x="5254718" y="1143218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4059437"/>
            <a:satOff val="26906"/>
            <a:lumOff val="-33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pplication layer</a:t>
          </a:r>
        </a:p>
      </dsp:txBody>
      <dsp:txXfrm>
        <a:off x="5270976" y="1159476"/>
        <a:ext cx="1835509" cy="522580"/>
      </dsp:txXfrm>
    </dsp:sp>
    <dsp:sp modelId="{1DFC23C6-C15A-48BD-9BC8-58292610BB1C}">
      <dsp:nvSpPr>
        <dsp:cNvPr id="0" name=""/>
        <dsp:cNvSpPr/>
      </dsp:nvSpPr>
      <dsp:spPr>
        <a:xfrm>
          <a:off x="5254718" y="1783714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4510486"/>
            <a:satOff val="29896"/>
            <a:lumOff val="-375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Network layer</a:t>
          </a:r>
        </a:p>
      </dsp:txBody>
      <dsp:txXfrm>
        <a:off x="5270976" y="1799972"/>
        <a:ext cx="1835509" cy="522580"/>
      </dsp:txXfrm>
    </dsp:sp>
    <dsp:sp modelId="{9427EFDD-411C-4C06-BC93-829EEABCA455}">
      <dsp:nvSpPr>
        <dsp:cNvPr id="0" name=""/>
        <dsp:cNvSpPr/>
      </dsp:nvSpPr>
      <dsp:spPr>
        <a:xfrm>
          <a:off x="5254718" y="2424210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4961535"/>
            <a:satOff val="32885"/>
            <a:lumOff val="-413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Wireless</a:t>
          </a:r>
        </a:p>
      </dsp:txBody>
      <dsp:txXfrm>
        <a:off x="5270976" y="2440468"/>
        <a:ext cx="1835509" cy="522580"/>
      </dsp:txXfrm>
    </dsp:sp>
    <dsp:sp modelId="{71346CD0-3859-4070-A79A-B44022EA66D6}">
      <dsp:nvSpPr>
        <dsp:cNvPr id="0" name=""/>
        <dsp:cNvSpPr/>
      </dsp:nvSpPr>
      <dsp:spPr>
        <a:xfrm>
          <a:off x="5254718" y="3064706"/>
          <a:ext cx="1868025" cy="555096"/>
        </a:xfrm>
        <a:prstGeom prst="roundRect">
          <a:avLst>
            <a:gd name="adj" fmla="val 10000"/>
          </a:avLst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CI DSS</a:t>
          </a:r>
        </a:p>
      </dsp:txBody>
      <dsp:txXfrm>
        <a:off x="5270976" y="3080964"/>
        <a:ext cx="1835509" cy="5225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3C73CE-EEA3-41B4-A9EB-8674E9ADC764}">
      <dsp:nvSpPr>
        <dsp:cNvPr id="0" name=""/>
        <dsp:cNvSpPr/>
      </dsp:nvSpPr>
      <dsp:spPr>
        <a:xfrm>
          <a:off x="8681" y="0"/>
          <a:ext cx="7570083" cy="1238909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830" tIns="163830" rIns="163830" bIns="163830" numCol="1" spcCol="1270" anchor="ctr" anchorCtr="0">
          <a:noAutofit/>
        </a:bodyPr>
        <a:lstStyle/>
        <a:p>
          <a:pPr marL="0" lvl="0" indent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300" kern="1200" dirty="0"/>
            <a:t>PCI DSS Penetration Testing</a:t>
          </a:r>
        </a:p>
      </dsp:txBody>
      <dsp:txXfrm>
        <a:off x="44967" y="36286"/>
        <a:ext cx="7497511" cy="1166337"/>
      </dsp:txXfrm>
    </dsp:sp>
    <dsp:sp modelId="{D73CC9D0-0007-47A9-8FB7-AF8C2BEE618C}">
      <dsp:nvSpPr>
        <dsp:cNvPr id="0" name=""/>
        <dsp:cNvSpPr/>
      </dsp:nvSpPr>
      <dsp:spPr>
        <a:xfrm>
          <a:off x="11729" y="1372136"/>
          <a:ext cx="2937534" cy="1238909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External</a:t>
          </a:r>
        </a:p>
      </dsp:txBody>
      <dsp:txXfrm>
        <a:off x="48015" y="1408422"/>
        <a:ext cx="2864962" cy="1166337"/>
      </dsp:txXfrm>
    </dsp:sp>
    <dsp:sp modelId="{CE45B45B-D9BB-4BFD-B922-11F1267C0517}">
      <dsp:nvSpPr>
        <dsp:cNvPr id="0" name=""/>
        <dsp:cNvSpPr/>
      </dsp:nvSpPr>
      <dsp:spPr>
        <a:xfrm>
          <a:off x="11729" y="2743052"/>
          <a:ext cx="1438557" cy="123890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AL</a:t>
          </a:r>
        </a:p>
      </dsp:txBody>
      <dsp:txXfrm>
        <a:off x="48015" y="2779338"/>
        <a:ext cx="1365985" cy="1166337"/>
      </dsp:txXfrm>
    </dsp:sp>
    <dsp:sp modelId="{B9326CE8-ABE9-4575-A47F-5D68B507E09D}">
      <dsp:nvSpPr>
        <dsp:cNvPr id="0" name=""/>
        <dsp:cNvSpPr/>
      </dsp:nvSpPr>
      <dsp:spPr>
        <a:xfrm>
          <a:off x="1510707" y="2743052"/>
          <a:ext cx="1438557" cy="123890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NL</a:t>
          </a:r>
        </a:p>
      </dsp:txBody>
      <dsp:txXfrm>
        <a:off x="1546993" y="2779338"/>
        <a:ext cx="1365985" cy="1166337"/>
      </dsp:txXfrm>
    </dsp:sp>
    <dsp:sp modelId="{926DEE54-47FF-42AE-B416-111D6920DD15}">
      <dsp:nvSpPr>
        <dsp:cNvPr id="0" name=""/>
        <dsp:cNvSpPr/>
      </dsp:nvSpPr>
      <dsp:spPr>
        <a:xfrm>
          <a:off x="3070103" y="1372136"/>
          <a:ext cx="2937534" cy="1238909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Internal</a:t>
          </a:r>
        </a:p>
      </dsp:txBody>
      <dsp:txXfrm>
        <a:off x="3106389" y="1408422"/>
        <a:ext cx="2864962" cy="1166337"/>
      </dsp:txXfrm>
    </dsp:sp>
    <dsp:sp modelId="{CED59201-E658-428A-8FED-4D52BBB450FE}">
      <dsp:nvSpPr>
        <dsp:cNvPr id="0" name=""/>
        <dsp:cNvSpPr/>
      </dsp:nvSpPr>
      <dsp:spPr>
        <a:xfrm>
          <a:off x="3070103" y="2743052"/>
          <a:ext cx="1438557" cy="123890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AL</a:t>
          </a:r>
        </a:p>
      </dsp:txBody>
      <dsp:txXfrm>
        <a:off x="3106389" y="2779338"/>
        <a:ext cx="1365985" cy="1166337"/>
      </dsp:txXfrm>
    </dsp:sp>
    <dsp:sp modelId="{3A2A95E3-A790-45FA-86BD-BA6500D51E69}">
      <dsp:nvSpPr>
        <dsp:cNvPr id="0" name=""/>
        <dsp:cNvSpPr/>
      </dsp:nvSpPr>
      <dsp:spPr>
        <a:xfrm>
          <a:off x="4569080" y="2743052"/>
          <a:ext cx="1438557" cy="123890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NL</a:t>
          </a:r>
        </a:p>
      </dsp:txBody>
      <dsp:txXfrm>
        <a:off x="4605366" y="2779338"/>
        <a:ext cx="1365985" cy="1166337"/>
      </dsp:txXfrm>
    </dsp:sp>
    <dsp:sp modelId="{3EB81D22-FEE7-4688-9521-B5DB78F14AD7}">
      <dsp:nvSpPr>
        <dsp:cNvPr id="0" name=""/>
        <dsp:cNvSpPr/>
      </dsp:nvSpPr>
      <dsp:spPr>
        <a:xfrm>
          <a:off x="6128477" y="1372136"/>
          <a:ext cx="1438557" cy="2564505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egmentation Checks</a:t>
          </a:r>
        </a:p>
      </dsp:txBody>
      <dsp:txXfrm>
        <a:off x="6170611" y="1414270"/>
        <a:ext cx="1354289" cy="248023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13BC31-878D-40CD-B358-FCAF903A03E0}">
      <dsp:nvSpPr>
        <dsp:cNvPr id="0" name=""/>
        <dsp:cNvSpPr/>
      </dsp:nvSpPr>
      <dsp:spPr>
        <a:xfrm>
          <a:off x="620881" y="0"/>
          <a:ext cx="7036655" cy="4209737"/>
        </a:xfrm>
        <a:prstGeom prst="right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1B3F5B-F7F3-4221-9D09-848563FB3637}">
      <dsp:nvSpPr>
        <dsp:cNvPr id="0" name=""/>
        <dsp:cNvSpPr/>
      </dsp:nvSpPr>
      <dsp:spPr>
        <a:xfrm>
          <a:off x="4143" y="1262921"/>
          <a:ext cx="1992802" cy="1683894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Methodology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PCI DSS Penetration Testing Guidance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NIST Special Publication 800-115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Open Source Security Testing Methodology Manual</a:t>
          </a:r>
        </a:p>
      </dsp:txBody>
      <dsp:txXfrm>
        <a:off x="86344" y="1345122"/>
        <a:ext cx="1828400" cy="1519492"/>
      </dsp:txXfrm>
    </dsp:sp>
    <dsp:sp modelId="{852C0EA8-1873-45E8-9149-DF504EB140ED}">
      <dsp:nvSpPr>
        <dsp:cNvPr id="0" name=""/>
        <dsp:cNvSpPr/>
      </dsp:nvSpPr>
      <dsp:spPr>
        <a:xfrm>
          <a:off x="2096586" y="1262921"/>
          <a:ext cx="1992802" cy="1683894"/>
        </a:xfrm>
        <a:prstGeom prst="roundRect">
          <a:avLst/>
        </a:prstGeom>
        <a:solidFill>
          <a:schemeClr val="accent4">
            <a:hueOff val="-1804194"/>
            <a:satOff val="11958"/>
            <a:lumOff val="-150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Testing Guide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Open Source Security Testing Methodology Manual (“OSSTMM”)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OWASP Testing Guide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Penetration Testing Execution Standard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Penetration Testing Framework</a:t>
          </a:r>
        </a:p>
      </dsp:txBody>
      <dsp:txXfrm>
        <a:off x="2178787" y="1345122"/>
        <a:ext cx="1828400" cy="1519492"/>
      </dsp:txXfrm>
    </dsp:sp>
    <dsp:sp modelId="{9AA5D645-A584-4C24-B8AB-4D81014CCDAA}">
      <dsp:nvSpPr>
        <dsp:cNvPr id="0" name=""/>
        <dsp:cNvSpPr/>
      </dsp:nvSpPr>
      <dsp:spPr>
        <a:xfrm>
          <a:off x="4189029" y="1262921"/>
          <a:ext cx="1992802" cy="1683894"/>
        </a:xfrm>
        <a:prstGeom prst="roundRect">
          <a:avLst/>
        </a:prstGeom>
        <a:solidFill>
          <a:schemeClr val="accent4">
            <a:hueOff val="-3608389"/>
            <a:satOff val="23917"/>
            <a:lumOff val="-30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PCI DSS Requirement 6.5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Injection flaws 	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Insecure communications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Improper error handling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Improper access control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Cross-site scripting (XSS)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etc.</a:t>
          </a:r>
        </a:p>
      </dsp:txBody>
      <dsp:txXfrm>
        <a:off x="4271230" y="1345122"/>
        <a:ext cx="1828400" cy="1519492"/>
      </dsp:txXfrm>
    </dsp:sp>
    <dsp:sp modelId="{C775BCB4-FE77-40F8-AE6B-0A7829A2CFF5}">
      <dsp:nvSpPr>
        <dsp:cNvPr id="0" name=""/>
        <dsp:cNvSpPr/>
      </dsp:nvSpPr>
      <dsp:spPr>
        <a:xfrm>
          <a:off x="6281471" y="1262921"/>
          <a:ext cx="1992802" cy="1683894"/>
        </a:xfrm>
        <a:prstGeom prst="roundRect">
          <a:avLst/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PCI DSS Requirement 11.3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Perform external penetration testing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Perform internal penetration testing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Verify segmentation methods</a:t>
          </a:r>
        </a:p>
      </dsp:txBody>
      <dsp:txXfrm>
        <a:off x="6363672" y="1345122"/>
        <a:ext cx="1828400" cy="151949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576A89-4A5F-46B0-96DB-4986FC88AF7B}">
      <dsp:nvSpPr>
        <dsp:cNvPr id="0" name=""/>
        <dsp:cNvSpPr/>
      </dsp:nvSpPr>
      <dsp:spPr>
        <a:xfrm rot="16200000">
          <a:off x="-1403981" y="2332913"/>
          <a:ext cx="3665780" cy="5596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93562" bIns="0" numCol="1" spcCol="1270" anchor="t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OWASP Top 10 2013</a:t>
          </a:r>
          <a:endParaRPr lang="en-US" sz="2200" kern="1200" dirty="0"/>
        </a:p>
      </dsp:txBody>
      <dsp:txXfrm>
        <a:off x="-1403981" y="2332913"/>
        <a:ext cx="3665780" cy="559629"/>
      </dsp:txXfrm>
    </dsp:sp>
    <dsp:sp modelId="{D076E706-C203-4C83-8279-4698D26D0FE7}">
      <dsp:nvSpPr>
        <dsp:cNvPr id="0" name=""/>
        <dsp:cNvSpPr/>
      </dsp:nvSpPr>
      <dsp:spPr>
        <a:xfrm>
          <a:off x="536536" y="756963"/>
          <a:ext cx="3315396" cy="366578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493562" rIns="120904" bIns="120904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1 Injectio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2 Broken Authentication and Session Management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3 Cross-Site Scripting (XSS)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4 Insecure Direct Object Reference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5 Security Misconfiguratio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6 Sensitive Data Exposur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7 Missing Function Level Access Control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8 Cross-Site Request Forgery (CSRF)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9 Using Components with Known Vulnerabilitie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10 Invalidated Redirects and Forwards</a:t>
          </a:r>
        </a:p>
      </dsp:txBody>
      <dsp:txXfrm>
        <a:off x="536536" y="756963"/>
        <a:ext cx="3315396" cy="3665780"/>
      </dsp:txXfrm>
    </dsp:sp>
    <dsp:sp modelId="{E99412FE-359D-416F-A98C-FEBAB47789C3}">
      <dsp:nvSpPr>
        <dsp:cNvPr id="0" name=""/>
        <dsp:cNvSpPr/>
      </dsp:nvSpPr>
      <dsp:spPr>
        <a:xfrm>
          <a:off x="479163" y="378404"/>
          <a:ext cx="717981" cy="693313"/>
        </a:xfrm>
        <a:prstGeom prst="rect">
          <a:avLst/>
        </a:prstGeom>
        <a:blipFill dpi="0"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718" r="1718"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43AF3E-5D58-45DC-BA3D-3670C3F7E2F2}">
      <dsp:nvSpPr>
        <dsp:cNvPr id="0" name=""/>
        <dsp:cNvSpPr/>
      </dsp:nvSpPr>
      <dsp:spPr>
        <a:xfrm rot="16200000">
          <a:off x="2635173" y="2302414"/>
          <a:ext cx="3665780" cy="5596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93562" bIns="0" numCol="1" spcCol="1270" anchor="t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PCI DSS Requirements</a:t>
          </a:r>
          <a:endParaRPr lang="en-US" sz="2200" kern="1200" dirty="0"/>
        </a:p>
      </dsp:txBody>
      <dsp:txXfrm>
        <a:off x="2635173" y="2302414"/>
        <a:ext cx="3665780" cy="559629"/>
      </dsp:txXfrm>
    </dsp:sp>
    <dsp:sp modelId="{6F65E959-422D-474F-8756-16DF081662ED}">
      <dsp:nvSpPr>
        <dsp:cNvPr id="0" name=""/>
        <dsp:cNvSpPr/>
      </dsp:nvSpPr>
      <dsp:spPr>
        <a:xfrm>
          <a:off x="4610300" y="779837"/>
          <a:ext cx="3646417" cy="3665780"/>
        </a:xfrm>
        <a:prstGeom prst="rect">
          <a:avLst/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493562" rIns="120904" bIns="120904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6.5.1 Injection flaws / 6.5.2 Buffer overflow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6.5.10 Broken authentication and session management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6.5.7 XS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? -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? 6.5.6 All “high risk” vulnerabilitie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? 6.5.5 Improper error handling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6.5.8 Improper access control / 6.5.3 Insec. cryptostorag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6.5.9 CSRF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6.5.6 All “high risk” vulnerabilitie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? 6.5.4 Insecure communications </a:t>
          </a:r>
        </a:p>
      </dsp:txBody>
      <dsp:txXfrm>
        <a:off x="4610300" y="779837"/>
        <a:ext cx="3646417" cy="3665780"/>
      </dsp:txXfrm>
    </dsp:sp>
    <dsp:sp modelId="{B2581B85-CD8D-4403-9365-B51353989B73}">
      <dsp:nvSpPr>
        <dsp:cNvPr id="0" name=""/>
        <dsp:cNvSpPr/>
      </dsp:nvSpPr>
      <dsp:spPr>
        <a:xfrm>
          <a:off x="4598636" y="401260"/>
          <a:ext cx="717981" cy="693313"/>
        </a:xfrm>
        <a:prstGeom prst="rect">
          <a:avLst/>
        </a:prstGeom>
        <a:blipFill>
          <a:blip xmlns:r="http://schemas.openxmlformats.org/officeDocument/2006/relationships" r:embed="rId2"/>
          <a:srcRect/>
          <a:stretch>
            <a:fillRect l="-14000" r="-14000"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F38683-4557-4FDF-93D1-52EAA5BEE415}">
      <dsp:nvSpPr>
        <dsp:cNvPr id="0" name=""/>
        <dsp:cNvSpPr/>
      </dsp:nvSpPr>
      <dsp:spPr>
        <a:xfrm>
          <a:off x="1477928" y="25103"/>
          <a:ext cx="1826847" cy="1753524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1"/>
              </a:solidFill>
            </a:rPr>
            <a:t>OWASP Web Top 10</a:t>
          </a:r>
          <a:endParaRPr lang="en-US" sz="1200" kern="1200" dirty="0">
            <a:solidFill>
              <a:schemeClr val="accent1"/>
            </a:solidFill>
          </a:endParaRPr>
        </a:p>
      </dsp:txBody>
      <dsp:txXfrm>
        <a:off x="1745464" y="281901"/>
        <a:ext cx="1291775" cy="1239928"/>
      </dsp:txXfrm>
    </dsp:sp>
    <dsp:sp modelId="{FF97A93C-5295-4770-98E0-E2D38662863E}">
      <dsp:nvSpPr>
        <dsp:cNvPr id="0" name=""/>
        <dsp:cNvSpPr/>
      </dsp:nvSpPr>
      <dsp:spPr>
        <a:xfrm>
          <a:off x="1892882" y="1861195"/>
          <a:ext cx="331413" cy="331457"/>
        </a:xfrm>
        <a:prstGeom prst="ellipse">
          <a:avLst/>
        </a:prstGeom>
        <a:solidFill>
          <a:schemeClr val="accent4">
            <a:alpha val="50000"/>
            <a:hueOff val="-676573"/>
            <a:satOff val="4484"/>
            <a:lumOff val="-56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A4653AC9-857B-4985-8C9A-5141C2526249}">
      <dsp:nvSpPr>
        <dsp:cNvPr id="0" name=""/>
        <dsp:cNvSpPr/>
      </dsp:nvSpPr>
      <dsp:spPr>
        <a:xfrm>
          <a:off x="3693787" y="331415"/>
          <a:ext cx="331413" cy="331457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FDE468D-CE86-4B9C-B6D6-EE3050D3A905}">
      <dsp:nvSpPr>
        <dsp:cNvPr id="0" name=""/>
        <dsp:cNvSpPr/>
      </dsp:nvSpPr>
      <dsp:spPr>
        <a:xfrm>
          <a:off x="2860879" y="1982110"/>
          <a:ext cx="1475905" cy="1456611"/>
        </a:xfrm>
        <a:prstGeom prst="ellipse">
          <a:avLst/>
        </a:prstGeom>
        <a:solidFill>
          <a:schemeClr val="accent4">
            <a:alpha val="50000"/>
            <a:hueOff val="-2029719"/>
            <a:satOff val="13453"/>
            <a:lumOff val="-169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accent1"/>
              </a:solidFill>
            </a:rPr>
            <a:t>OWASP Code Review Top 9</a:t>
          </a:r>
          <a:endParaRPr lang="en-US" sz="1200" kern="1200" dirty="0">
            <a:solidFill>
              <a:schemeClr val="accent1"/>
            </a:solidFill>
          </a:endParaRPr>
        </a:p>
      </dsp:txBody>
      <dsp:txXfrm>
        <a:off x="3077020" y="2195426"/>
        <a:ext cx="1043623" cy="1029979"/>
      </dsp:txXfrm>
    </dsp:sp>
    <dsp:sp modelId="{3698E3F7-1A2A-4414-87B1-CBA663AFE6B3}">
      <dsp:nvSpPr>
        <dsp:cNvPr id="0" name=""/>
        <dsp:cNvSpPr/>
      </dsp:nvSpPr>
      <dsp:spPr>
        <a:xfrm>
          <a:off x="4212410" y="2048514"/>
          <a:ext cx="331413" cy="331457"/>
        </a:xfrm>
        <a:prstGeom prst="ellipse">
          <a:avLst/>
        </a:prstGeom>
        <a:solidFill>
          <a:schemeClr val="accent4">
            <a:alpha val="50000"/>
            <a:hueOff val="-2706292"/>
            <a:satOff val="17937"/>
            <a:lumOff val="-22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44BC6E-AFFE-4484-921E-B9ACB54CEA4B}">
      <dsp:nvSpPr>
        <dsp:cNvPr id="0" name=""/>
        <dsp:cNvSpPr/>
      </dsp:nvSpPr>
      <dsp:spPr>
        <a:xfrm>
          <a:off x="2042547" y="2535089"/>
          <a:ext cx="620467" cy="599881"/>
        </a:xfrm>
        <a:prstGeom prst="ellipse">
          <a:avLst/>
        </a:prstGeom>
        <a:solidFill>
          <a:schemeClr val="accent4">
            <a:alpha val="50000"/>
            <a:hueOff val="-3382864"/>
            <a:satOff val="22422"/>
            <a:lumOff val="-281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</dsp:txBody>
      <dsp:txXfrm>
        <a:off x="2133412" y="2622940"/>
        <a:ext cx="438737" cy="424179"/>
      </dsp:txXfrm>
    </dsp:sp>
    <dsp:sp modelId="{554A2194-55A9-4718-8B2C-54A5F94F28C7}">
      <dsp:nvSpPr>
        <dsp:cNvPr id="0" name=""/>
        <dsp:cNvSpPr/>
      </dsp:nvSpPr>
      <dsp:spPr>
        <a:xfrm>
          <a:off x="3572562" y="806251"/>
          <a:ext cx="1159947" cy="1159953"/>
        </a:xfrm>
        <a:prstGeom prst="ellipse">
          <a:avLst/>
        </a:prstGeom>
        <a:solidFill>
          <a:schemeClr val="accent4">
            <a:alpha val="50000"/>
            <a:hueOff val="-4059437"/>
            <a:satOff val="26906"/>
            <a:lumOff val="-33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Architecture</a:t>
          </a:r>
        </a:p>
      </dsp:txBody>
      <dsp:txXfrm>
        <a:off x="3742432" y="976122"/>
        <a:ext cx="820207" cy="820211"/>
      </dsp:txXfrm>
    </dsp:sp>
    <dsp:sp modelId="{0098409A-5B9D-4D43-8463-4EFCC836AD1E}">
      <dsp:nvSpPr>
        <dsp:cNvPr id="0" name=""/>
        <dsp:cNvSpPr/>
      </dsp:nvSpPr>
      <dsp:spPr>
        <a:xfrm>
          <a:off x="2398931" y="1879989"/>
          <a:ext cx="569720" cy="569591"/>
        </a:xfrm>
        <a:prstGeom prst="ellipse">
          <a:avLst/>
        </a:prstGeom>
        <a:solidFill>
          <a:schemeClr val="accent4">
            <a:alpha val="50000"/>
            <a:hueOff val="-4736010"/>
            <a:satOff val="31391"/>
            <a:lumOff val="-394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2CD20D91-E8EC-4569-A8A6-3060400339C4}">
      <dsp:nvSpPr>
        <dsp:cNvPr id="0" name=""/>
        <dsp:cNvSpPr/>
      </dsp:nvSpPr>
      <dsp:spPr>
        <a:xfrm>
          <a:off x="1813264" y="2018967"/>
          <a:ext cx="249114" cy="248958"/>
        </a:xfrm>
        <a:prstGeom prst="ellipse">
          <a:avLst/>
        </a:prstGeom>
        <a:solidFill>
          <a:schemeClr val="accent4">
            <a:alpha val="50000"/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018EC3B2-3396-499A-A94A-05E4421860ED}">
      <dsp:nvSpPr>
        <dsp:cNvPr id="0" name=""/>
        <dsp:cNvSpPr/>
      </dsp:nvSpPr>
      <dsp:spPr>
        <a:xfrm>
          <a:off x="1418376" y="3394766"/>
          <a:ext cx="3381155" cy="7876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1" kern="1200" dirty="0">
              <a:solidFill>
                <a:schemeClr val="accent4"/>
              </a:solidFill>
            </a:rPr>
            <a:t>OWASP ASVS v3.0.1</a:t>
          </a:r>
          <a:endParaRPr lang="en-US" sz="2500" kern="1200" dirty="0">
            <a:solidFill>
              <a:schemeClr val="accent4"/>
            </a:solidFill>
          </a:endParaRPr>
        </a:p>
      </dsp:txBody>
      <dsp:txXfrm>
        <a:off x="1418376" y="3394766"/>
        <a:ext cx="3381155" cy="78764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9E0EA3-A4F5-4C4A-8589-4080FEB6AE85}">
      <dsp:nvSpPr>
        <dsp:cNvPr id="0" name=""/>
        <dsp:cNvSpPr/>
      </dsp:nvSpPr>
      <dsp:spPr>
        <a:xfrm>
          <a:off x="0" y="0"/>
          <a:ext cx="8168640" cy="4286656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kern="1200" dirty="0"/>
            <a:t>Key parts of OWAS ASVS</a:t>
          </a:r>
          <a:endParaRPr lang="en-US" sz="3200" kern="1200" dirty="0"/>
        </a:p>
      </dsp:txBody>
      <dsp:txXfrm>
        <a:off x="0" y="0"/>
        <a:ext cx="8168640" cy="1285996"/>
      </dsp:txXfrm>
    </dsp:sp>
    <dsp:sp modelId="{E445EB16-4891-47C6-AEF2-A7D0795F79F3}">
      <dsp:nvSpPr>
        <dsp:cNvPr id="0" name=""/>
        <dsp:cNvSpPr/>
      </dsp:nvSpPr>
      <dsp:spPr>
        <a:xfrm>
          <a:off x="816863" y="1286101"/>
          <a:ext cx="6534912" cy="624474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40005" rIns="5334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Scope for the application security verification standard</a:t>
          </a:r>
        </a:p>
      </dsp:txBody>
      <dsp:txXfrm>
        <a:off x="835153" y="1304391"/>
        <a:ext cx="6498332" cy="587894"/>
      </dsp:txXfrm>
    </dsp:sp>
    <dsp:sp modelId="{2EAF6E80-6D9C-4ECD-A2DA-3C8D59438B7D}">
      <dsp:nvSpPr>
        <dsp:cNvPr id="0" name=""/>
        <dsp:cNvSpPr/>
      </dsp:nvSpPr>
      <dsp:spPr>
        <a:xfrm>
          <a:off x="816863" y="2006648"/>
          <a:ext cx="6534912" cy="624474"/>
        </a:xfrm>
        <a:prstGeom prst="roundRect">
          <a:avLst>
            <a:gd name="adj" fmla="val 10000"/>
          </a:avLst>
        </a:prstGeom>
        <a:solidFill>
          <a:schemeClr val="accent4">
            <a:hueOff val="-1804194"/>
            <a:satOff val="11958"/>
            <a:lumOff val="-150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40005" rIns="5334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Description of security verification levels</a:t>
          </a:r>
        </a:p>
      </dsp:txBody>
      <dsp:txXfrm>
        <a:off x="835153" y="2024938"/>
        <a:ext cx="6498332" cy="587894"/>
      </dsp:txXfrm>
    </dsp:sp>
    <dsp:sp modelId="{6BDC12A8-1D28-4F09-980A-40859E72119C}">
      <dsp:nvSpPr>
        <dsp:cNvPr id="0" name=""/>
        <dsp:cNvSpPr/>
      </dsp:nvSpPr>
      <dsp:spPr>
        <a:xfrm>
          <a:off x="816863" y="2727196"/>
          <a:ext cx="6534912" cy="624474"/>
        </a:xfrm>
        <a:prstGeom prst="roundRect">
          <a:avLst>
            <a:gd name="adj" fmla="val 10000"/>
          </a:avLst>
        </a:prstGeom>
        <a:solidFill>
          <a:schemeClr val="accent4">
            <a:hueOff val="-3608389"/>
            <a:satOff val="23917"/>
            <a:lumOff val="-30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40005" rIns="5334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Requirements / Controls</a:t>
          </a:r>
        </a:p>
      </dsp:txBody>
      <dsp:txXfrm>
        <a:off x="835153" y="2745486"/>
        <a:ext cx="6498332" cy="587894"/>
      </dsp:txXfrm>
    </dsp:sp>
    <dsp:sp modelId="{20C5797E-20D6-451D-9FAF-1B56EEA97EFF}">
      <dsp:nvSpPr>
        <dsp:cNvPr id="0" name=""/>
        <dsp:cNvSpPr/>
      </dsp:nvSpPr>
      <dsp:spPr>
        <a:xfrm>
          <a:off x="816863" y="3447744"/>
          <a:ext cx="6534912" cy="624474"/>
        </a:xfrm>
        <a:prstGeom prst="roundRect">
          <a:avLst>
            <a:gd name="adj" fmla="val 10000"/>
          </a:avLst>
        </a:prstGeom>
        <a:solidFill>
          <a:schemeClr val="accent4">
            <a:hueOff val="-5412583"/>
            <a:satOff val="35875"/>
            <a:lumOff val="-45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40005" rIns="53340" bIns="4000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Standards Mappings</a:t>
          </a:r>
        </a:p>
      </dsp:txBody>
      <dsp:txXfrm>
        <a:off x="835153" y="3466034"/>
        <a:ext cx="6498332" cy="58789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B00747-0E50-46EB-8C63-5AF18F74F7AE}">
      <dsp:nvSpPr>
        <dsp:cNvPr id="0" name=""/>
        <dsp:cNvSpPr/>
      </dsp:nvSpPr>
      <dsp:spPr>
        <a:xfrm>
          <a:off x="1069035" y="0"/>
          <a:ext cx="4064000" cy="4064000"/>
        </a:xfrm>
        <a:prstGeom prst="ellipse">
          <a:avLst/>
        </a:prstGeom>
        <a:solidFill>
          <a:schemeClr val="accent6"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500" kern="1200" dirty="0"/>
            <a:t> </a:t>
          </a:r>
        </a:p>
      </dsp:txBody>
      <dsp:txXfrm>
        <a:off x="1664194" y="595159"/>
        <a:ext cx="2873682" cy="287368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rings+Icon">
  <dgm:title val="Interconnected Rings"/>
  <dgm:desc val="Use to show overlapping or interconnected ideas or concepts. The first seven lines of Level 1 text correspond with a circle. Unused text does not appear, but remains available if you switch layouts.  "/>
  <dgm:catLst>
    <dgm:cat type="relationship" pri="32000"/>
    <dgm:cat type="officeonline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0"/>
        <dgm:pt modelId="20"/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/>
        <dgm:pt modelId="20"/>
        <dgm:pt modelId="30"/>
        <dgm:pt modelId="40"/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2" destOrd="0"/>
      </dgm:cxnLst>
      <dgm:bg/>
      <dgm:whole/>
    </dgm:dataModel>
  </dgm:clrData>
  <dgm:layoutNode name="Name0">
    <dgm:varLst>
      <dgm:chMax val="7"/>
      <dgm:dir/>
      <dgm:resizeHandles val="exact"/>
    </dgm:varLst>
    <dgm:choose name="Name1">
      <dgm:if name="Name2" axis="ch" ptType="node" func="cnt" op="lt" val="1">
        <dgm:alg type="composite"/>
        <dgm:shape xmlns:r="http://schemas.openxmlformats.org/officeDocument/2006/relationships" r:blip="">
          <dgm:adjLst/>
        </dgm:shape>
        <dgm:presOf/>
        <dgm:constrLst/>
        <dgm:ruleLst/>
      </dgm:if>
      <dgm:if name="Name3" axis="ch" ptType="node" func="cnt" op="equ" val="1">
        <dgm:alg type="composite">
          <dgm:param type="ar" val="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/>
          <dgm:constr type="h" for="ch" forName="ellipse1" refType="h"/>
        </dgm:constrLst>
      </dgm:if>
      <dgm:if name="Name4" axis="ch" ptType="node" func="cnt" op="equ" val="2">
        <dgm:alg type="composite">
          <dgm:param type="ar" val="0.908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6602"/>
          <dgm:constr type="h" for="ch" forName="ellipse1" refType="h" fact="0.5999"/>
          <dgm:constr type="l" for="ch" forName="ellipse2" refType="w" fact="0.3398"/>
          <dgm:constr type="t" for="ch" forName="ellipse2" refType="h" fact="0.4001"/>
          <dgm:constr type="w" for="ch" forName="ellipse2" refType="w" fact="0.6602"/>
          <dgm:constr type="h" for="ch" forName="ellipse2" refType="h" fact="0.5999"/>
        </dgm:constrLst>
      </dgm:if>
      <dgm:if name="Name5" axis="ch" ptType="node" func="cnt" op="equ" val="3">
        <dgm:alg type="composite">
          <dgm:param type="ar" val="1.217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4929"/>
          <dgm:constr type="h" for="ch" forName="ellipse1" refType="h" fact="0.5999"/>
          <dgm:constr type="l" for="ch" forName="ellipse2" refType="w" fact="0.2537"/>
          <dgm:constr type="t" for="ch" forName="ellipse2" refType="h" fact="0.4001"/>
          <dgm:constr type="w" for="ch" forName="ellipse2" refType="w" fact="0.4929"/>
          <dgm:constr type="h" for="ch" forName="ellipse2" refType="h" fact="0.5999"/>
          <dgm:constr type="l" for="ch" forName="ellipse3" refType="w" fact="0.5071"/>
          <dgm:constr type="t" for="ch" forName="ellipse3" refType="h" fact="0"/>
          <dgm:constr type="w" for="ch" forName="ellipse3" refType="w" fact="0.4929"/>
          <dgm:constr type="h" for="ch" forName="ellipse3" refType="h" fact="0.5999"/>
        </dgm:constrLst>
      </dgm:if>
      <dgm:if name="Name6" axis="ch" ptType="node" func="cnt" op="equ" val="4">
        <dgm:alg type="composite">
          <dgm:param type="ar" val="1.5255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932"/>
          <dgm:constr type="h" for="ch" forName="ellipse1" refType="h" fact="0.5999"/>
          <dgm:constr type="l" for="ch" forName="ellipse2" refType="w" fact="0.2023"/>
          <dgm:constr type="t" for="ch" forName="ellipse2" refType="h" fact="0.4001"/>
          <dgm:constr type="w" for="ch" forName="ellipse2" refType="w" fact="0.3932"/>
          <dgm:constr type="h" for="ch" forName="ellipse2" refType="h" fact="0.5999"/>
          <dgm:constr type="l" for="ch" forName="ellipse3" refType="w" fact="0.4045"/>
          <dgm:constr type="t" for="ch" forName="ellipse3" refType="h" fact="0"/>
          <dgm:constr type="w" for="ch" forName="ellipse3" refType="w" fact="0.3932"/>
          <dgm:constr type="h" for="ch" forName="ellipse3" refType="h" fact="0.5999"/>
          <dgm:constr type="l" for="ch" forName="ellipse4" refType="w" fact="0.6068"/>
          <dgm:constr type="t" for="ch" forName="ellipse4" refType="h" fact="0.4001"/>
          <dgm:constr type="w" for="ch" forName="ellipse4" refType="w" fact="0.3932"/>
          <dgm:constr type="h" for="ch" forName="ellipse4" refType="h" fact="0.5999"/>
        </dgm:constrLst>
      </dgm:if>
      <dgm:if name="Name7" axis="ch" ptType="node" func="cnt" op="equ" val="5">
        <dgm:alg type="composite">
          <dgm:param type="ar" val="1.834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271"/>
          <dgm:constr type="h" for="ch" forName="ellipse1" refType="h" fact="0.5999"/>
          <dgm:constr type="l" for="ch" forName="ellipse2" refType="w" fact="0.1682"/>
          <dgm:constr type="t" for="ch" forName="ellipse2" refType="h" fact="0.4001"/>
          <dgm:constr type="w" for="ch" forName="ellipse2" refType="w" fact="0.3271"/>
          <dgm:constr type="h" for="ch" forName="ellipse2" refType="h" fact="0.5999"/>
          <dgm:constr type="l" for="ch" forName="ellipse3" refType="w" fact="0.3365"/>
          <dgm:constr type="t" for="ch" forName="ellipse3" refType="h" fact="0"/>
          <dgm:constr type="w" for="ch" forName="ellipse3" refType="w" fact="0.3271"/>
          <dgm:constr type="h" for="ch" forName="ellipse3" refType="h" fact="0.5999"/>
          <dgm:constr type="l" for="ch" forName="ellipse4" refType="w" fact="0.5047"/>
          <dgm:constr type="t" for="ch" forName="ellipse4" refType="h" fact="0.4001"/>
          <dgm:constr type="w" for="ch" forName="ellipse4" refType="w" fact="0.3271"/>
          <dgm:constr type="h" for="ch" forName="ellipse4" refType="h" fact="0.5999"/>
          <dgm:constr type="l" for="ch" forName="ellipse5" refType="w" fact="0.6729"/>
          <dgm:constr type="t" for="ch" forName="ellipse5" refType="h" fact="0"/>
          <dgm:constr type="w" for="ch" forName="ellipse5" refType="w" fact="0.3271"/>
          <dgm:constr type="h" for="ch" forName="ellipse5" refType="h" fact="0.5999"/>
        </dgm:constrLst>
      </dgm:if>
      <dgm:if name="Name8" axis="ch" ptType="node" func="cnt" op="equ" val="6">
        <dgm:alg type="composite">
          <dgm:param type="ar" val="2.1873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78"/>
          <dgm:constr type="h" for="ch" forName="ellipse1" refType="h" fact="0.6081"/>
          <dgm:constr type="l" for="ch" forName="ellipse2" refType="w" fact="0.1444"/>
          <dgm:constr type="t" for="ch" forName="ellipse2" refType="h" fact="0.3919"/>
          <dgm:constr type="w" for="ch" forName="ellipse2" refType="w" fact="0.278"/>
          <dgm:constr type="h" for="ch" forName="ellipse2" refType="h" fact="0.6081"/>
          <dgm:constr type="l" for="ch" forName="ellipse3" refType="w" fact="0.2888"/>
          <dgm:constr type="t" for="ch" forName="ellipse3" refType="h" fact="0"/>
          <dgm:constr type="w" for="ch" forName="ellipse3" refType="w" fact="0.278"/>
          <dgm:constr type="h" for="ch" forName="ellipse3" refType="h" fact="0.6081"/>
          <dgm:constr type="l" for="ch" forName="ellipse4" refType="w" fact="0.4332"/>
          <dgm:constr type="t" for="ch" forName="ellipse4" refType="h" fact="0.3919"/>
          <dgm:constr type="w" for="ch" forName="ellipse4" refType="w" fact="0.278"/>
          <dgm:constr type="h" for="ch" forName="ellipse4" refType="h" fact="0.6081"/>
          <dgm:constr type="l" for="ch" forName="ellipse5" refType="w" fact="0.5776"/>
          <dgm:constr type="t" for="ch" forName="ellipse5" refType="h" fact="0"/>
          <dgm:constr type="w" for="ch" forName="ellipse5" refType="w" fact="0.278"/>
          <dgm:constr type="h" for="ch" forName="ellipse5" refType="h" fact="0.6081"/>
          <dgm:constr type="l" for="ch" forName="ellipse6" refType="w" fact="0.722"/>
          <dgm:constr type="t" for="ch" forName="ellipse6" refType="h" fact="0.3919"/>
          <dgm:constr type="w" for="ch" forName="ellipse6" refType="w" fact="0.278"/>
          <dgm:constr type="h" for="ch" forName="ellipse6" refType="h" fact="0.6081"/>
        </dgm:constrLst>
      </dgm:if>
      <dgm:else name="Name9">
        <dgm:alg type="composite">
          <dgm:param type="ar" val="2.346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455"/>
          <dgm:constr type="h" for="ch" forName="ellipse1" refType="h" fact="0.5761"/>
          <dgm:constr type="l" for="ch" forName="ellipse2" refType="w" fact="0.1257"/>
          <dgm:constr type="t" for="ch" forName="ellipse2" refType="h" fact="0.4239"/>
          <dgm:constr type="w" for="ch" forName="ellipse2" refType="w" fact="0.2455"/>
          <dgm:constr type="h" for="ch" forName="ellipse2" refType="h" fact="0.5761"/>
          <dgm:constr type="l" for="ch" forName="ellipse3" refType="w" fact="0.2515"/>
          <dgm:constr type="t" for="ch" forName="ellipse3" refType="h" fact="0"/>
          <dgm:constr type="w" for="ch" forName="ellipse3" refType="w" fact="0.2455"/>
          <dgm:constr type="h" for="ch" forName="ellipse3" refType="h" fact="0.5761"/>
          <dgm:constr type="l" for="ch" forName="ellipse4" refType="w" fact="0.3772"/>
          <dgm:constr type="t" for="ch" forName="ellipse4" refType="h" fact="0.4239"/>
          <dgm:constr type="w" for="ch" forName="ellipse4" refType="w" fact="0.2455"/>
          <dgm:constr type="h" for="ch" forName="ellipse4" refType="h" fact="0.5761"/>
          <dgm:constr type="l" for="ch" forName="ellipse5" refType="w" fact="0.503"/>
          <dgm:constr type="t" for="ch" forName="ellipse5" refType="h" fact="0"/>
          <dgm:constr type="w" for="ch" forName="ellipse5" refType="w" fact="0.2455"/>
          <dgm:constr type="h" for="ch" forName="ellipse5" refType="h" fact="0.5761"/>
          <dgm:constr type="l" for="ch" forName="ellipse6" refType="w" fact="0.6287"/>
          <dgm:constr type="t" for="ch" forName="ellipse6" refType="h" fact="0.4239"/>
          <dgm:constr type="w" for="ch" forName="ellipse6" refType="w" fact="0.2455"/>
          <dgm:constr type="h" for="ch" forName="ellipse6" refType="h" fact="0.5761"/>
          <dgm:constr type="l" for="ch" forName="ellipse7" refType="w" fact="0.7545"/>
          <dgm:constr type="t" for="ch" forName="ellipse7" refType="h" fact="0"/>
          <dgm:constr type="w" for="ch" forName="ellipse7" refType="w" fact="0.2455"/>
          <dgm:constr type="h" for="ch" forName="ellipse7" refType="h" fact="0.5761"/>
        </dgm:constrLst>
      </dgm:else>
    </dgm:choose>
    <dgm:choose name="Name10">
      <dgm:if name="Name11" axis="ch" ptType="node" func="cnt" op="gte" val="1">
        <dgm:layoutNode name="ellipse1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12">
            <dgm:if name="Name13" func="var" arg="dir" op="equ" val="norm">
              <dgm:presOf axis="ch desOrSelf" ptType="node node" st="1 1" cnt="1 0"/>
            </dgm:if>
            <dgm:else name="Name14">
              <dgm:choose name="Name15">
                <dgm:if name="Name16" axis="ch" ptType="node" func="cnt" op="equ" val="1">
                  <dgm:presOf axis="ch desOrSelf" ptType="node node" st="1 1" cnt="1 0"/>
                </dgm:if>
                <dgm:if name="Name17" axis="ch" ptType="node" func="cnt" op="equ" val="2">
                  <dgm:presOf axis="ch desOrSelf" ptType="node node" st="2 1" cnt="1 0"/>
                </dgm:if>
                <dgm:if name="Name18" axis="ch" ptType="node" func="cnt" op="equ" val="3">
                  <dgm:presOf axis="ch desOrSelf" ptType="node node" st="3 1" cnt="1 0"/>
                </dgm:if>
                <dgm:if name="Name19" axis="ch" ptType="node" func="cnt" op="equ" val="4">
                  <dgm:presOf axis="ch desOrSelf" ptType="node node" st="4 1" cnt="1 0"/>
                </dgm:if>
                <dgm:if name="Name20" axis="ch" ptType="node" func="cnt" op="equ" val="5">
                  <dgm:presOf axis="ch desOrSelf" ptType="node node" st="5 1" cnt="1 0"/>
                </dgm:if>
                <dgm:if name="Name21" axis="ch" ptType="node" func="cnt" op="equ" val="6">
                  <dgm:presOf axis="ch desOrSelf" ptType="node node" st="6 1" cnt="1 0"/>
                </dgm:if>
                <dgm:if name="Name22" axis="ch" ptType="node" func="cnt" op="gte" val="7">
                  <dgm:presOf axis="ch desOrSelf" ptType="node node" st="7 1" cnt="1 0"/>
                </dgm:if>
                <dgm:else name="Name2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24"/>
    </dgm:choose>
    <dgm:choose name="Name25">
      <dgm:if name="Name26" axis="ch" ptType="node" func="cnt" op="gte" val="2">
        <dgm:layoutNode name="ellipse2" styleLbl="vennNode1">
          <dgm:varLst>
            <dgm:bulletEnabled val="1"/>
          </dgm:varLst>
          <dgm:alg type="tx"/>
          <dgm:choose name="Name27">
            <dgm:if name="Name2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2 1" cnt="1 0"/>
            </dgm:if>
            <dgm:else name="Name29">
              <dgm:shape xmlns:r="http://schemas.openxmlformats.org/officeDocument/2006/relationships" type="ellipse" r:blip="" zOrderOff="-2">
                <dgm:adjLst/>
              </dgm:shape>
              <dgm:choose name="Name30">
                <dgm:if name="Name31" axis="ch" ptType="node" func="cnt" op="equ" val="2">
                  <dgm:presOf axis="ch desOrSelf" ptType="node node" st="1 1" cnt="1 0"/>
                </dgm:if>
                <dgm:if name="Name32" axis="ch" ptType="node" func="cnt" op="equ" val="3">
                  <dgm:presOf axis="ch desOrSelf" ptType="node node" st="2 1" cnt="1 0"/>
                </dgm:if>
                <dgm:if name="Name33" axis="ch" ptType="node" func="cnt" op="equ" val="4">
                  <dgm:presOf axis="ch desOrSelf" ptType="node node" st="3 1" cnt="1 0"/>
                </dgm:if>
                <dgm:if name="Name34" axis="ch" ptType="node" func="cnt" op="equ" val="5">
                  <dgm:presOf axis="ch desOrSelf" ptType="node node" st="4 1" cnt="1 0"/>
                </dgm:if>
                <dgm:if name="Name35" axis="ch" ptType="node" func="cnt" op="equ" val="6">
                  <dgm:presOf axis="ch desOrSelf" ptType="node node" st="5 1" cnt="1 0"/>
                </dgm:if>
                <dgm:if name="Name36" axis="ch" ptType="node" func="cnt" op="gte" val="7">
                  <dgm:presOf axis="ch desOrSelf" ptType="node node" st="6 1" cnt="1 0"/>
                </dgm:if>
                <dgm:else name="Name37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  <dgm:choose name="Name39">
      <dgm:if name="Name40" axis="ch" ptType="node" func="cnt" op="gte" val="3">
        <dgm:layoutNode name="ellipse3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41">
            <dgm:if name="Name42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3 1" cnt="1 0"/>
            </dgm:if>
            <dgm:else name="Name43">
              <dgm:shape xmlns:r="http://schemas.openxmlformats.org/officeDocument/2006/relationships" type="ellipse" r:blip="" zOrderOff="-4">
                <dgm:adjLst/>
              </dgm:shape>
              <dgm:choose name="Name44">
                <dgm:if name="Name45" axis="ch" ptType="node" func="cnt" op="equ" val="3">
                  <dgm:presOf axis="ch desOrSelf" ptType="node node" st="1 1" cnt="1 0"/>
                </dgm:if>
                <dgm:if name="Name46" axis="ch" ptType="node" func="cnt" op="equ" val="4">
                  <dgm:presOf axis="ch desOrSelf" ptType="node node" st="2 1" cnt="1 0"/>
                </dgm:if>
                <dgm:if name="Name47" axis="ch" ptType="node" func="cnt" op="equ" val="5">
                  <dgm:presOf axis="ch desOrSelf" ptType="node node" st="3 1" cnt="1 0"/>
                </dgm:if>
                <dgm:if name="Name48" axis="ch" ptType="node" func="cnt" op="equ" val="6">
                  <dgm:presOf axis="ch desOrSelf" ptType="node node" st="4 1" cnt="1 0"/>
                </dgm:if>
                <dgm:if name="Name49" axis="ch" ptType="node" func="cnt" op="gte" val="7">
                  <dgm:presOf axis="ch desOrSelf" ptType="node node" st="5 1" cnt="1 0"/>
                </dgm:if>
                <dgm:else name="Name50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1"/>
    </dgm:choose>
    <dgm:choose name="Name52">
      <dgm:if name="Name53" axis="ch" ptType="node" func="cnt" op="gte" val="4">
        <dgm:layoutNode name="ellipse4" styleLbl="vennNode1">
          <dgm:varLst>
            <dgm:bulletEnabled val="1"/>
          </dgm:varLst>
          <dgm:alg type="tx"/>
          <dgm:choose name="Name54">
            <dgm:if name="Name55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4 1" cnt="1 0"/>
            </dgm:if>
            <dgm:else name="Name56">
              <dgm:shape xmlns:r="http://schemas.openxmlformats.org/officeDocument/2006/relationships" type="ellipse" r:blip="" zOrderOff="-6">
                <dgm:adjLst/>
              </dgm:shape>
              <dgm:choose name="Name57">
                <dgm:if name="Name58" axis="ch" ptType="node" func="cnt" op="equ" val="4">
                  <dgm:presOf axis="ch desOrSelf" ptType="node node" st="1 1" cnt="1 0"/>
                </dgm:if>
                <dgm:if name="Name59" axis="ch" ptType="node" func="cnt" op="equ" val="5">
                  <dgm:presOf axis="ch desOrSelf" ptType="node node" st="2 1" cnt="1 0"/>
                </dgm:if>
                <dgm:if name="Name60" axis="ch" ptType="node" func="cnt" op="equ" val="6">
                  <dgm:presOf axis="ch desOrSelf" ptType="node node" st="3 1" cnt="1 0"/>
                </dgm:if>
                <dgm:if name="Name61" axis="ch" ptType="node" func="cnt" op="gte" val="7">
                  <dgm:presOf axis="ch desOrSelf" ptType="node node" st="4 1" cnt="1 0"/>
                </dgm:if>
                <dgm:else name="Name62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63"/>
    </dgm:choose>
    <dgm:choose name="Name64">
      <dgm:if name="Name65" axis="ch" ptType="node" func="cnt" op="gte" val="5">
        <dgm:layoutNode name="ellipse5" styleLbl="vennNode1">
          <dgm:varLst>
            <dgm:bulletEnabled val="1"/>
          </dgm:varLst>
          <dgm:alg type="tx"/>
          <dgm:choose name="Name66">
            <dgm:if name="Name67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5 1" cnt="1 0"/>
            </dgm:if>
            <dgm:else name="Name68">
              <dgm:shape xmlns:r="http://schemas.openxmlformats.org/officeDocument/2006/relationships" type="ellipse" r:blip="" zOrderOff="-8">
                <dgm:adjLst/>
              </dgm:shape>
              <dgm:choose name="Name69">
                <dgm:if name="Name70" axis="ch" ptType="node" func="cnt" op="equ" val="5">
                  <dgm:presOf axis="ch desOrSelf" ptType="node node" st="1 1" cnt="1 0"/>
                </dgm:if>
                <dgm:if name="Name71" axis="ch" ptType="node" func="cnt" op="equ" val="6">
                  <dgm:presOf axis="ch desOrSelf" ptType="node node" st="2 1" cnt="1 0"/>
                </dgm:if>
                <dgm:if name="Name72" axis="ch" ptType="node" func="cnt" op="gte" val="7">
                  <dgm:presOf axis="ch desOrSelf" ptType="node node" st="3 1" cnt="1 0"/>
                </dgm:if>
                <dgm:else name="Name7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74"/>
    </dgm:choose>
    <dgm:choose name="Name75">
      <dgm:if name="Name76" axis="ch" ptType="node" func="cnt" op="gte" val="6">
        <dgm:layoutNode name="ellipse6" styleLbl="vennNode1">
          <dgm:varLst>
            <dgm:bulletEnabled val="1"/>
          </dgm:varLst>
          <dgm:alg type="tx"/>
          <dgm:choose name="Name77">
            <dgm:if name="Name7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6 1" cnt="1 0"/>
            </dgm:if>
            <dgm:else name="Name79">
              <dgm:shape xmlns:r="http://schemas.openxmlformats.org/officeDocument/2006/relationships" type="ellipse" r:blip="" zOrderOff="-10">
                <dgm:adjLst/>
              </dgm:shape>
              <dgm:choose name="Name80">
                <dgm:if name="Name81" axis="ch" ptType="node" func="cnt" op="equ" val="6">
                  <dgm:presOf axis="ch desOrSelf" ptType="node node" st="1 1" cnt="1 0"/>
                </dgm:if>
                <dgm:if name="Name82" axis="ch" ptType="node" func="cnt" op="gte" val="7">
                  <dgm:presOf axis="ch desOrSelf" ptType="node node" st="2 1" cnt="1 0"/>
                </dgm:if>
                <dgm:else name="Name8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84"/>
    </dgm:choose>
    <dgm:choose name="Name85">
      <dgm:if name="Name86" axis="ch" ptType="node" func="cnt" op="gte" val="7">
        <dgm:layoutNode name="ellipse7" styleLbl="vennNode1">
          <dgm:varLst>
            <dgm:bulletEnabled val="1"/>
          </dgm:varLst>
          <dgm:alg type="tx"/>
          <dgm:choose name="Name87">
            <dgm:if name="Name8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7 1" cnt="1 0"/>
            </dgm:if>
            <dgm:else name="Name89">
              <dgm:shape xmlns:r="http://schemas.openxmlformats.org/officeDocument/2006/relationships" type="ellipse" r:blip="" zOrderOff="-12">
                <dgm:adjLst/>
              </dgm:shape>
              <dgm:presOf axis="ch desOrSelf" ptType="node node" st="1 1" cnt="1 0"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90"/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9/3/layout/PhasedProcess">
  <dgm:title val=""/>
  <dgm:desc val=""/>
  <dgm:catLst>
    <dgm:cat type="process" pri="1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clrData>
  <dgm:layoutNode name="Name0">
    <dgm:varLst>
      <dgm:chMax val="3"/>
      <dgm:chPref val="3"/>
      <dgm:bulletEnabled val="1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gte" val="3">
        <dgm:alg type="composite">
          <dgm:param type="ar" val="2.8316"/>
        </dgm:alg>
        <dgm:choose name="Name3">
          <dgm:if name="Name4" func="var" arg="dir" op="equ" val="norm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parentText3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rightChild" refType="primFontSz" refFor="des" refForName="parentText1" op="lte"/>
              <dgm:constr type="primFontSz" for="des" forName="rightChild" refType="primFontSz" refFor="des" refForName="parentText2" op="lte"/>
              <dgm:constr type="primFontSz" for="des" forName="rightChild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0567"/>
              <dgm:constr type="t" for="ch" forName="leftComposite" refType="h" fact="0.1159"/>
              <dgm:constr type="w" for="ch" forName="leftComposite" refType="w" fact="0.2455"/>
              <dgm:constr type="h" for="ch" forName="leftComposite" refType="h" fact="0.6953"/>
              <dgm:constr type="l" for="ch" forName="middleComposite" refType="w" fact="0.365"/>
              <dgm:constr type="t" for="ch" forName="middleComposite" refType="h" fact="0.1545"/>
              <dgm:constr type="w" for="ch" forName="middleComposite" refType="w" fact="0.2728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3305"/>
              <dgm:constr type="h" for="ch" forName="arc1" refType="h" fact="0.9357"/>
              <dgm:constr type="l" for="ch" forName="arc2" refType="w" fact="0.3295"/>
              <dgm:constr type="t" for="ch" forName="arc2" refType="h" fact="0"/>
              <dgm:constr type="w" for="ch" forName="arc2" refType="w" fact="0.3305"/>
              <dgm:constr type="h" for="ch" forName="arc2" refType="h" fact="0.9357"/>
              <dgm:constr type="l" for="ch" forName="arc3" refType="w" fact="0.3401"/>
              <dgm:constr type="t" for="ch" forName="arc3" refType="h" fact="0"/>
              <dgm:constr type="w" for="ch" forName="arc3" refType="w" fact="0.3305"/>
              <dgm:constr type="h" for="ch" forName="arc3" refType="h" fact="0.9357"/>
              <dgm:constr type="l" for="ch" forName="arc4" refType="w" fact="0.6695"/>
              <dgm:constr type="t" for="ch" forName="arc4" refType="h" fact="0"/>
              <dgm:constr type="w" for="ch" forName="arc4" refType="w" fact="0.3305"/>
              <dgm:constr type="h" for="ch" forName="arc4" refType="h" fact="0.9357"/>
              <dgm:constr type="l" for="ch" forName="rightChild" refType="w" fact="0.713"/>
              <dgm:constr type="t" for="ch" forName="rightChild" refType="h" fact="0.1934"/>
              <dgm:constr type="w" for="ch" forName="rightChild" refType="w" fact="0.193"/>
              <dgm:constr type="h" for="ch" forName="rightChild" refType="h" fact="0.5464"/>
              <dgm:constr type="l" for="ch" forName="parentText1" refType="w" fact="0.0621"/>
              <dgm:constr type="t" for="ch" forName="parentText1" refType="h" fact="0.8128"/>
              <dgm:constr type="w" for="ch" forName="parentText1" refType="w" fact="0.2509"/>
              <dgm:constr type="h" for="ch" forName="parentText1" refType="h" fact="0.1872"/>
              <dgm:constr type="l" for="ch" forName="parentText2" refType="w" fact="0.3792"/>
              <dgm:constr type="t" for="ch" forName="parentText2" refType="h" fact="0.8128"/>
              <dgm:constr type="w" for="ch" forName="parentText2" refType="w" fact="0.2509"/>
              <dgm:constr type="h" for="ch" forName="parentText2" refType="h" fact="0.1872"/>
              <dgm:constr type="l" for="ch" forName="parentText3" refType="w" fact="0.6845"/>
              <dgm:constr type="t" for="ch" forName="parentText3" refType="h" fact="0.8128"/>
              <dgm:constr type="w" for="ch" forName="parentText3" refType="w" fact="0.2509"/>
              <dgm:constr type="h" for="ch" forName="parentText3" refType="h" fact="0.1872"/>
            </dgm:constrLst>
          </dgm:if>
          <dgm:else name="Name5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parentText3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rightChild" refType="primFontSz" refFor="des" refForName="parentText1" op="lte"/>
              <dgm:constr type="primFontSz" for="des" forName="rightChild" refType="primFontSz" refFor="des" refForName="parentText2" op="lte"/>
              <dgm:constr type="primFontSz" for="des" forName="rightChild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72"/>
              <dgm:constr type="t" for="ch" forName="leftComposite" refType="h" fact="0.1159"/>
              <dgm:constr type="w" for="ch" forName="leftComposite" refType="w" fact="0.2455"/>
              <dgm:constr type="h" for="ch" forName="leftComposite" refType="h" fact="0.6953"/>
              <dgm:constr type="l" for="ch" forName="middleComposite" refType="w" fact="0.365"/>
              <dgm:constr type="t" for="ch" forName="middleComposite" refType="h" fact="0.1545"/>
              <dgm:constr type="w" for="ch" forName="middleComposite" refType="w" fact="0.2728"/>
              <dgm:constr type="h" for="ch" forName="middleComposite" refType="h" fact="0.6567"/>
              <dgm:constr type="l" for="ch" forName="rightChild" refType="w" fact="0.09"/>
              <dgm:constr type="t" for="ch" forName="rightChild" refType="h" fact="0.1934"/>
              <dgm:constr type="w" for="ch" forName="rightChild" refType="w" fact="0.193"/>
              <dgm:constr type="h" for="ch" forName="rightChild" refType="h" fact="0.5464"/>
              <dgm:constr type="l" for="ch" forName="arc1" refType="w" fact="0"/>
              <dgm:constr type="t" for="ch" forName="arc1" refType="h" fact="0"/>
              <dgm:constr type="w" for="ch" forName="arc1" refType="w" fact="0.3305"/>
              <dgm:constr type="h" for="ch" forName="arc1" refType="h" fact="0.9357"/>
              <dgm:constr type="l" for="ch" forName="arc2" refType="w" fact="0.3295"/>
              <dgm:constr type="t" for="ch" forName="arc2" refType="h" fact="0"/>
              <dgm:constr type="w" for="ch" forName="arc2" refType="w" fact="0.3305"/>
              <dgm:constr type="h" for="ch" forName="arc2" refType="h" fact="0.9357"/>
              <dgm:constr type="l" for="ch" forName="arc3" refType="w" fact="0.3401"/>
              <dgm:constr type="t" for="ch" forName="arc3" refType="h" fact="0"/>
              <dgm:constr type="w" for="ch" forName="arc3" refType="w" fact="0.3305"/>
              <dgm:constr type="h" for="ch" forName="arc3" refType="h" fact="0.9357"/>
              <dgm:constr type="l" for="ch" forName="arc4" refType="w" fact="0.6695"/>
              <dgm:constr type="t" for="ch" forName="arc4" refType="h" fact="0"/>
              <dgm:constr type="w" for="ch" forName="arc4" refType="w" fact="0.3305"/>
              <dgm:constr type="h" for="ch" forName="arc4" refType="h" fact="0.9357"/>
              <dgm:constr type="l" for="ch" forName="parentText1" refType="w" fact="0.7"/>
              <dgm:constr type="t" for="ch" forName="parentText1" refType="h" fact="0.8128"/>
              <dgm:constr type="w" for="ch" forName="parentText1" refType="w" fact="0.2509"/>
              <dgm:constr type="h" for="ch" forName="parentText1" refType="h" fact="0.1872"/>
              <dgm:constr type="l" for="ch" forName="parentText2" refType="w" fact="0.3792"/>
              <dgm:constr type="t" for="ch" forName="parentText2" refType="h" fact="0.8128"/>
              <dgm:constr type="w" for="ch" forName="parentText2" refType="w" fact="0.2509"/>
              <dgm:constr type="h" for="ch" forName="parentText2" refType="h" fact="0.1872"/>
              <dgm:constr type="l" for="ch" forName="parentText3" refType="w" fact="0.062"/>
              <dgm:constr type="t" for="ch" forName="parentText3" refType="h" fact="0.8128"/>
              <dgm:constr type="w" for="ch" forName="parentText3" refType="w" fact="0.2509"/>
              <dgm:constr type="h" for="ch" forName="parentText3" refType="h" fact="0.1872"/>
            </dgm:constrLst>
          </dgm:else>
        </dgm:choose>
      </dgm:if>
      <dgm:if name="Name6" axis="ch" ptType="node" func="cnt" op="gte" val="2">
        <dgm:alg type="composite">
          <dgm:param type="ar" val="1.8986"/>
        </dgm:alg>
        <dgm:choose name="Name7">
          <dgm:if name="Name8" func="var" arg="dir" op="equ" val="norm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0941"/>
              <dgm:constr type="t" for="ch" forName="leftComposite" refType="h" fact="0.1159"/>
              <dgm:constr type="w" for="ch" forName="leftComposite" refType="w" fact="0.3469"/>
              <dgm:constr type="h" for="ch" forName="leftComposite" refType="h" fact="0.6953"/>
              <dgm:constr type="l" for="ch" forName="middleComposite" refType="w" fact="0.5782"/>
              <dgm:constr type="t" for="ch" forName="middleComposite" refType="h" fact="0.1159"/>
              <dgm:constr type="w" for="ch" forName="middleComposite" refType="w" fact="0.3389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4928"/>
              <dgm:constr type="h" for="ch" forName="arc1" refType="h" fact="0.9357"/>
              <dgm:constr type="l" for="ch" forName="arc3" refType="w" fact="0.5072"/>
              <dgm:constr type="t" for="ch" forName="arc3" refType="h" fact="0"/>
              <dgm:constr type="w" for="ch" forName="arc3" refType="w" fact="0.4928"/>
              <dgm:constr type="h" for="ch" forName="arc3" refType="h" fact="0.9357"/>
              <dgm:constr type="l" for="ch" forName="parentText1" refType="w" fact="0.0926"/>
              <dgm:constr type="t" for="ch" forName="parentText1" refType="h" fact="0.8128"/>
              <dgm:constr type="w" for="ch" forName="parentText1" refType="w" fact="0.3742"/>
              <dgm:constr type="h" for="ch" forName="parentText1" refType="h" fact="0.1872"/>
              <dgm:constr type="l" for="ch" forName="parentText2" refType="w" fact="0.5655"/>
              <dgm:constr type="t" for="ch" forName="parentText2" refType="h" fact="0.8128"/>
              <dgm:constr type="w" for="ch" forName="parentText2" refType="w" fact="0.3742"/>
              <dgm:constr type="h" for="ch" forName="parentText2" refType="h" fact="0.1872"/>
            </dgm:constrLst>
          </dgm:if>
          <dgm:else name="Name9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592"/>
              <dgm:constr type="t" for="ch" forName="leftComposite" refType="h" fact="0.1159"/>
              <dgm:constr type="w" for="ch" forName="leftComposite" refType="w" fact="0.3469"/>
              <dgm:constr type="h" for="ch" forName="leftComposite" refType="h" fact="0.6953"/>
              <dgm:constr type="l" for="ch" forName="middleComposite" refType="w" fact="0.0941"/>
              <dgm:constr type="t" for="ch" forName="middleComposite" refType="h" fact="0.1159"/>
              <dgm:constr type="w" for="ch" forName="middleComposite" refType="w" fact="0.3389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4928"/>
              <dgm:constr type="h" for="ch" forName="arc1" refType="h" fact="0.9357"/>
              <dgm:constr type="l" for="ch" forName="arc3" refType="w" fact="0.5072"/>
              <dgm:constr type="t" for="ch" forName="arc3" refType="h" fact="0"/>
              <dgm:constr type="w" for="ch" forName="arc3" refType="w" fact="0.4928"/>
              <dgm:constr type="h" for="ch" forName="arc3" refType="h" fact="0.9357"/>
              <dgm:constr type="l" for="ch" forName="parentText2" refType="w" fact="0.0926"/>
              <dgm:constr type="t" for="ch" forName="parentText2" refType="h" fact="0.8128"/>
              <dgm:constr type="w" for="ch" forName="parentText2" refType="w" fact="0.3742"/>
              <dgm:constr type="h" for="ch" forName="parentText2" refType="h" fact="0.1872"/>
              <dgm:constr type="l" for="ch" forName="parentText1" refType="w" fact="0.5655"/>
              <dgm:constr type="t" for="ch" forName="parentText1" refType="h" fact="0.8128"/>
              <dgm:constr type="w" for="ch" forName="parentText1" refType="w" fact="0.3742"/>
              <dgm:constr type="h" for="ch" forName="parentText1" refType="h" fact="0.1872"/>
            </dgm:constrLst>
          </dgm:else>
        </dgm:choose>
      </dgm:if>
      <dgm:else name="Name10">
        <dgm:alg type="composite">
          <dgm:param type="ar" val="0.8036"/>
        </dgm:alg>
        <dgm:constrLst>
          <dgm:constr type="primFontSz" for="des" forName="parentText1" val="65"/>
          <dgm:constr type="primFontSz" for="des" forName="childText1_1" val="65"/>
          <dgm:constr type="primFontSz" for="des" forName="childText1_1" refType="primFontSz" refFor="des" refForName="parentText1" op="lte"/>
          <dgm:constr type="primFontSz" for="des" forName="childText1_2" refType="primFontSz" refFor="des" refForName="parentText1" op="lte"/>
          <dgm:constr type="primFontSz" for="des" forName="childText1_3" refType="primFontSz" refFor="des" refForName="parentText1" op="lte"/>
          <dgm:constr type="primFontSz" for="des" forName="childText1_4" refType="primFontSz" refFor="des" refForName="parentText1" op="lte"/>
          <dgm:constr type="primFontSz" for="des" forName="childText1_1" refType="primFontSz" refFor="des" refForName="parentText2" op="lte"/>
          <dgm:constr type="primFontSz" for="des" forName="childText1_2" refType="primFontSz" refFor="des" refForName="parentText2" op="lte"/>
          <dgm:constr type="primFontSz" for="des" forName="childText1_3" refType="primFontSz" refFor="des" refForName="parentText2" op="lte"/>
          <dgm:constr type="primFontSz" for="des" forName="childText1_4" refType="primFontSz" refFor="des" refForName="parentText2" op="lte"/>
          <dgm:constr type="primFontSz" for="des" forName="childText1_1" refType="primFontSz" refFor="des" refForName="parentText3" op="lte"/>
          <dgm:constr type="primFontSz" for="des" forName="childText1_2" refType="primFontSz" refFor="des" refForName="parentText3" op="lte"/>
          <dgm:constr type="primFontSz" for="des" forName="childText1_3" refType="primFontSz" refFor="des" refForName="parentText3" op="lte"/>
          <dgm:constr type="primFontSz" for="des" forName="childText1_4" refType="primFontSz" refFor="des" refForName="parentText3" op="lte"/>
          <dgm:constr type="primFontSz" for="des" forName="childText1_2" refType="primFontSz" refFor="des" refForName="childText1_1" op="equ"/>
          <dgm:constr type="primFontSz" for="des" forName="childText1_3" refType="primFontSz" refFor="des" refForName="childText1_1" op="equ"/>
          <dgm:constr type="primFontSz" for="des" forName="childText1_4" refType="primFontSz" refFor="des" refForName="childText1_1" op="equ"/>
          <dgm:constr type="l" for="ch" forName="leftComposite" refType="w" fact="0"/>
          <dgm:constr type="t" for="ch" forName="leftComposite" refType="h" fact="0.1159"/>
          <dgm:constr type="w" for="ch" forName="leftComposite" refType="w"/>
          <dgm:constr type="h" for="ch" forName="leftComposite" refType="h" fact="0.6953"/>
          <dgm:constr type="l" for="ch" forName="parentText1" refType="w" fact="0"/>
          <dgm:constr type="t" for="ch" forName="parentText1" refType="h" fact="0.8128"/>
          <dgm:constr type="w" for="ch" forName="parentText1" refType="w"/>
          <dgm:constr type="h" for="ch" forName="parentText1" refType="h" fact="0.1872"/>
        </dgm:constrLst>
      </dgm:else>
    </dgm:choose>
    <dgm:choose name="Name11">
      <dgm:if name="Name12" axis="ch" ptType="node" func="cnt" op="gte" val="1">
        <dgm:choose name="Name13">
          <dgm:if name="Name14" axis="ch" ptType="node" func="cnt" op="gte" val="2">
            <dgm:layoutNode name="arc1">
              <dgm:alg type="sp"/>
              <dgm:shape xmlns:r="http://schemas.openxmlformats.org/officeDocument/2006/relationships" rot="9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arc3">
              <dgm:alg type="sp"/>
              <dgm:shape xmlns:r="http://schemas.openxmlformats.org/officeDocument/2006/relationships" rot="27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parentText2" styleLbl="revTx">
              <dgm:varLst>
                <dgm:chMax val="4"/>
                <dgm:chPref val="3"/>
                <dgm:bulletEnabled val="1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ch 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15"/>
        </dgm:choose>
        <dgm:choose name="Name16">
          <dgm:if name="Name17" axis="ch" ptType="node" func="cnt" op="gte" val="3">
            <dgm:layoutNode name="arc2">
              <dgm:alg type="sp"/>
              <dgm:shape xmlns:r="http://schemas.openxmlformats.org/officeDocument/2006/relationships" rot="9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arc4">
              <dgm:alg type="sp"/>
              <dgm:shape xmlns:r="http://schemas.openxmlformats.org/officeDocument/2006/relationships" rot="27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parentText3" styleLbl="revTx">
              <dgm:varLst>
                <dgm:chMax val="1"/>
                <dgm:chPref val="1"/>
                <dgm:bulletEnabled val="1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ch self" ptType="node node" st="3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18"/>
        </dgm:choose>
      </dgm:if>
      <dgm:else name="Name19"/>
    </dgm:choose>
    <dgm:layoutNode name="middleComposite">
      <dgm:choose name="Name20">
        <dgm:if name="Name21" axis="ch ch" ptType="node node" st="2 1" cnt="1 0" func="cnt" op="lte" val="1">
          <dgm:alg type="composite">
            <dgm:param type="ar" val="1"/>
          </dgm:alg>
        </dgm:if>
        <dgm:if name="Name22" axis="ch ch" ptType="node node" st="2 1" cnt="1 0" func="cnt" op="equ" val="2">
          <dgm:alg type="composite">
            <dgm:param type="ar" val="1.792"/>
          </dgm:alg>
        </dgm:if>
        <dgm:if name="Name23" axis="ch ch" ptType="node node" st="2 1" cnt="1 0" func="cnt" op="equ" val="3">
          <dgm:alg type="composite">
            <dgm:param type="ar" val="1"/>
          </dgm:alg>
        </dgm:if>
        <dgm:else name="Name24">
          <dgm:alg type="composite">
            <dgm:param type="ar" val="1"/>
          </dgm:alg>
        </dgm:else>
      </dgm:choose>
      <dgm:shape xmlns:r="http://schemas.openxmlformats.org/officeDocument/2006/relationships" r:blip="">
        <dgm:adjLst/>
      </dgm:shape>
      <dgm:presOf/>
      <dgm:choose name="Name25">
        <dgm:if name="Name26" axis="ch ch" ptType="node node" st="2 1" cnt="1 0" func="cnt" op="lte" val="1">
          <dgm:constrLst>
            <dgm:constr type="ctrX" for="ch" forName="circ1" refType="w" fact="0.5"/>
            <dgm:constr type="ctrY" for="ch" forName="circ1" refType="h" fact="0.5"/>
            <dgm:constr type="w" for="ch" forName="circ1" refType="w"/>
            <dgm:constr type="h" for="ch" forName="circ1" refType="h"/>
            <dgm:constr type="l" for="ch" forName="circ1Tx" refType="w" fact="0.2"/>
            <dgm:constr type="t" for="ch" forName="circ1Tx" refType="h" fact="0.1"/>
            <dgm:constr type="w" for="ch" forName="circ1Tx" refType="w" fact="0.6"/>
            <dgm:constr type="h" for="ch" forName="circ1Tx" refType="h" fact="0.8"/>
          </dgm:constrLst>
        </dgm:if>
        <dgm:if name="Name27" axis="ch ch" ptType="node node" st="2 1" cnt="1 0" func="cnt" op="equ" val="2">
          <dgm:constrLst>
            <dgm:constr type="ctrX" for="ch" forName="circ1" refType="w" fact="0.3"/>
            <dgm:constr type="ctrY" for="ch" forName="circ1" refType="h" fact="0.5"/>
            <dgm:constr type="w" for="ch" forName="circ1" refType="w" fact="0.555"/>
            <dgm:constr type="h" for="ch" forName="circ1" refType="h" fact="0.99456"/>
            <dgm:constr type="l" for="ch" forName="circ1Tx" refType="w" fact="0.1"/>
            <dgm:constr type="t" for="ch" forName="circ1Tx" refType="h" fact="0.12"/>
            <dgm:constr type="w" for="ch" forName="circ1Tx" refType="w" fact="0.32"/>
            <dgm:constr type="h" for="ch" forName="circ1Tx" refType="h" fact="0.76"/>
            <dgm:constr type="ctrX" for="ch" forName="circ2" refType="w" fact="0.7"/>
            <dgm:constr type="ctrY" for="ch" forName="circ2" refType="h" fact="0.5"/>
            <dgm:constr type="w" for="ch" forName="circ2" refType="w" fact="0.555"/>
            <dgm:constr type="h" for="ch" forName="circ2" refType="h" fact="0.99456"/>
            <dgm:constr type="l" for="ch" forName="circ2Tx" refType="w" fact="0.58"/>
            <dgm:constr type="t" for="ch" forName="circ2Tx" refType="h" fact="0.12"/>
            <dgm:constr type="w" for="ch" forName="circ2Tx" refType="w" fact="0.32"/>
            <dgm:constr type="h" for="ch" forName="circ2Tx" refType="h" fact="0.76"/>
          </dgm:constrLst>
        </dgm:if>
        <dgm:if name="Name28" axis="ch ch" ptType="node node" st="2 1" cnt="1 0" func="cnt" op="equ" val="3">
          <dgm:constrLst>
            <dgm:constr type="ctrX" for="ch" forName="circ1" refType="w" fact="0.5"/>
            <dgm:constr type="ctrY" for="ch" forName="circ1" refType="w" fact="0.25"/>
            <dgm:constr type="w" for="ch" forName="circ1" refType="w" fact="0.6"/>
            <dgm:constr type="h" for="ch" forName="circ1" refType="h" fact="0.6"/>
            <dgm:constr type="l" for="ch" forName="circ1Tx" refType="w" fact="0.28"/>
            <dgm:constr type="t" for="ch" forName="circ1Tx" refType="h" fact="0.055"/>
            <dgm:constr type="w" for="ch" forName="circ1Tx" refType="w" fact="0.44"/>
            <dgm:constr type="h" for="ch" forName="circ1Tx" refType="h" fact="0.27"/>
            <dgm:constr type="ctrX" for="ch" forName="circ2" refType="w" fact="0.7165"/>
            <dgm:constr type="ctrY" for="ch" forName="circ2" refType="w" fact="0.625"/>
            <dgm:constr type="w" for="ch" forName="circ2" refType="w" fact="0.6"/>
            <dgm:constr type="h" for="ch" forName="circ2" refType="h" fact="0.6"/>
            <dgm:constr type="l" for="ch" forName="circ2Tx" refType="w" fact="0.6"/>
            <dgm:constr type="t" for="ch" forName="circ2Tx" refType="h" fact="0.48"/>
            <dgm:constr type="w" for="ch" forName="circ2Tx" refType="w" fact="0.36"/>
            <dgm:constr type="h" for="ch" forName="circ2Tx" refType="h" fact="0.33"/>
            <dgm:constr type="ctrX" for="ch" forName="circ3" refType="w" fact="0.2835"/>
            <dgm:constr type="ctrY" for="ch" forName="circ3" refType="w" fact="0.625"/>
            <dgm:constr type="w" for="ch" forName="circ3" refType="w" fact="0.6"/>
            <dgm:constr type="h" for="ch" forName="circ3" refType="h" fact="0.6"/>
            <dgm:constr type="l" for="ch" forName="circ3Tx" refType="w" fact="0.04"/>
            <dgm:constr type="t" for="ch" forName="circ3Tx" refType="h" fact="0.48"/>
            <dgm:constr type="w" for="ch" forName="circ3Tx" refType="w" fact="0.36"/>
            <dgm:constr type="h" for="ch" forName="circ3Tx" refType="h" fact="0.33"/>
          </dgm:constrLst>
        </dgm:if>
        <dgm:else name="Name29">
          <dgm:constrLst>
            <dgm:constr type="ctrX" for="ch" forName="circ1" refType="w" fact="0.5"/>
            <dgm:constr type="ctrY" for="ch" forName="circ1" refType="w" fact="0.27"/>
            <dgm:constr type="w" for="ch" forName="circ1" refType="w" fact="0.52"/>
            <dgm:constr type="h" for="ch" forName="circ1" refType="h" fact="0.52"/>
            <dgm:constr type="l" for="ch" forName="circ1Tx" refType="w" fact="0.3"/>
            <dgm:constr type="t" for="ch" forName="circ1Tx" refType="h" fact="0.08"/>
            <dgm:constr type="w" for="ch" forName="circ1Tx" refType="w" fact="0.4"/>
            <dgm:constr type="h" for="ch" forName="circ1Tx" refType="h" fact="0.165"/>
            <dgm:constr type="ctrX" for="ch" forName="circ2" refType="w" fact="0.73"/>
            <dgm:constr type="ctrY" for="ch" forName="circ2" refType="w" fact="0.5"/>
            <dgm:constr type="w" for="ch" forName="circ2" refType="w" fact="0.52"/>
            <dgm:constr type="h" for="ch" forName="circ2" refType="h" fact="0.52"/>
            <dgm:constr type="r" for="ch" forName="circ2Tx" refType="w" fact="0.95"/>
            <dgm:constr type="t" for="ch" forName="circ2Tx" refType="h" fact="0.3"/>
            <dgm:constr type="w" for="ch" forName="circ2Tx" refType="w" fact="0.2"/>
            <dgm:constr type="h" for="ch" forName="circ2Tx" refType="h" fact="0.4"/>
            <dgm:constr type="ctrX" for="ch" forName="circ3" refType="w" fact="0.5"/>
            <dgm:constr type="ctrY" for="ch" forName="circ3" refType="w" fact="0.73"/>
            <dgm:constr type="w" for="ch" forName="circ3" refType="w" fact="0.52"/>
            <dgm:constr type="h" for="ch" forName="circ3" refType="h" fact="0.52"/>
            <dgm:constr type="l" for="ch" forName="circ3Tx" refType="w" fact="0.3"/>
            <dgm:constr type="b" for="ch" forName="circ3Tx" refType="h" fact="0.92"/>
            <dgm:constr type="w" for="ch" forName="circ3Tx" refType="w" fact="0.4"/>
            <dgm:constr type="h" for="ch" forName="circ3Tx" refType="h" fact="0.165"/>
            <dgm:constr type="ctrX" for="ch" forName="circ4" refType="w" fact="0.27"/>
            <dgm:constr type="ctrY" for="ch" forName="circ4" refType="h" fact="0.5"/>
            <dgm:constr type="w" for="ch" forName="circ4" refType="w" fact="0.52"/>
            <dgm:constr type="h" for="ch" forName="circ4" refType="h" fact="0.52"/>
            <dgm:constr type="l" for="ch" forName="circ4Tx" refType="w" fact="0.05"/>
            <dgm:constr type="t" for="ch" forName="circ4Tx" refType="h" fact="0.3"/>
            <dgm:constr type="w" for="ch" forName="circ4Tx" refType="w" fact="0.2"/>
            <dgm:constr type="h" for="ch" forName="circ4Tx" refType="h" fact="0.4"/>
          </dgm:constrLst>
        </dgm:else>
      </dgm:choose>
      <dgm:ruleLst/>
      <dgm:forEach name="Name30" axis="ch ch" ptType="node node" st="2 1" cnt="1 1">
        <dgm:layoutNode name="circ1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1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1" axis="ch ch" ptType="node node" st="2 2" cnt="1 1">
        <dgm:layoutNode name="circ2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2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2" axis="ch ch" ptType="node node" st="2 3" cnt="1 1">
        <dgm:layoutNode name="circ3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3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3" axis="ch ch" ptType="node node" st="2 4" cnt="1 1">
        <dgm:layoutNode name="circ4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4Tx" styleLbl="revTx">
          <dgm:varLst>
            <dgm:chMax val="0"/>
            <dgm:chPref val="0"/>
            <dgm:bulletEnabled val="1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</dgm:layoutNode>
    <dgm:layoutNode name="leftComposite">
      <dgm:choose name="Name34">
        <dgm:if name="Name35" axis="ch ch" ptType="node node" st="1 1" cnt="1 0" func="cnt" op="lte" val="1">
          <dgm:alg type="composite">
            <dgm:param type="ar" val="1.3085"/>
          </dgm:alg>
          <dgm:constrLst>
            <dgm:constr type="l" for="ch" forName="childText1_1" refType="w" fact="0.2124"/>
            <dgm:constr type="t" for="ch" forName="childText1_1" refType="h" fact="0"/>
            <dgm:constr type="w" for="ch" forName="childText1_1" refType="w" fact="0.5759"/>
            <dgm:constr type="h" for="ch" forName="childText1_1" refType="h" fact="0.7535"/>
            <dgm:constr type="l" for="ch" forName="ellipse1" refType="w" fact="0"/>
            <dgm:constr type="t" for="ch" forName="ellipse1" refType="h" fact="0.63"/>
            <dgm:constr type="w" for="ch" forName="ellipse1" refType="w" fact="0.2828"/>
            <dgm:constr type="h" for="ch" forName="ellipse1" refType="h" fact="0.37"/>
            <dgm:constr type="l" for="ch" forName="ellipse2" refType="w" fact="0.82"/>
            <dgm:constr type="t" for="ch" forName="ellipse2" refType="h" fact="0.17"/>
            <dgm:constr type="w" for="ch" forName="ellipse2" refType="w" fact="0.1645"/>
            <dgm:constr type="h" for="ch" forName="ellipse2" refType="h" fact="0.2153"/>
          </dgm:constrLst>
        </dgm:if>
        <dgm:if name="Name36" axis="ch ch" ptType="node node" st="1 1" cnt="1 0" func="cnt" op="equ" val="2">
          <dgm:alg type="composite">
            <dgm:param type="ar" val="0.8917"/>
          </dgm:alg>
          <dgm:constrLst>
            <dgm:constr type="l" for="ch" forName="childText1_1" refType="w" fact="0.1864"/>
            <dgm:constr type="t" for="ch" forName="childText1_1" refType="h" fact="0"/>
            <dgm:constr type="w" for="ch" forName="childText1_1" refType="w" fact="0.5055"/>
            <dgm:constr type="h" for="ch" forName="childText1_1" refType="h" fact="0.4507"/>
            <dgm:constr type="l" for="ch" forName="childText1_2" refType="w" fact="0.4945"/>
            <dgm:constr type="t" for="ch" forName="childText1_2" refType="h" fact="0.3929"/>
            <dgm:constr type="w" for="ch" forName="childText1_2" refType="w" fact="0.5055"/>
            <dgm:constr type="h" for="ch" forName="childText1_2" refType="h" fact="0.4507"/>
            <dgm:constr type="l" for="ch" forName="ellipse1" refType="w" fact="0"/>
            <dgm:constr type="t" for="ch" forName="ellipse1" refType="h" fact="0.3768"/>
            <dgm:constr type="w" for="ch" forName="ellipse1" refType="w" fact="0.2482"/>
            <dgm:constr type="h" for="ch" forName="ellipse1" refType="h" fact="0.2213"/>
            <dgm:constr type="l" for="ch" forName="ellipse3" refType="w" fact="0.5474"/>
            <dgm:constr type="t" for="ch" forName="ellipse3" refType="h" fact="0.8712"/>
            <dgm:constr type="w" for="ch" forName="ellipse3" refType="w" fact="0.1444"/>
            <dgm:constr type="h" for="ch" forName="ellipse3" refType="h" fact="0.1288"/>
            <dgm:constr type="l" for="ch" forName="ellipse2" refType="w" fact="0.7333"/>
            <dgm:constr type="t" for="ch" forName="ellipse2" refType="h" fact="0.0887"/>
            <dgm:constr type="w" for="ch" forName="ellipse2" refType="w" fact="0.1444"/>
            <dgm:constr type="h" for="ch" forName="ellipse2" refType="h" fact="0.1288"/>
          </dgm:constrLst>
        </dgm:if>
        <dgm:if name="Name37" axis="ch ch" ptType="node node" st="1 1" cnt="1 0" func="cnt" op="equ" val="3">
          <dgm:alg type="composite">
            <dgm:param type="ar" val="1.0811"/>
          </dgm:alg>
          <dgm:constrLst>
            <dgm:constr type="l" for="ch" forName="childText1_3" refType="w" fact="0.1649"/>
            <dgm:constr type="t" for="ch" forName="childText1_3" refType="h" fact="0.5389"/>
            <dgm:constr type="w" for="ch" forName="childText1_3" refType="w" fact="0.4265"/>
            <dgm:constr type="h" for="ch" forName="childText1_3" refType="h" fact="0.4611"/>
            <dgm:constr type="l" for="ch" forName="childText1_1" refType="w" fact="0.1573"/>
            <dgm:constr type="t" for="ch" forName="childText1_1" refType="h" fact="0"/>
            <dgm:constr type="w" for="ch" forName="childText1_1" refType="w" fact="0.4265"/>
            <dgm:constr type="h" for="ch" forName="childText1_1" refType="h" fact="0.4611"/>
            <dgm:constr type="l" for="ch" forName="childText1_2" refType="w" fact="0.5735"/>
            <dgm:constr type="t" for="ch" forName="childText1_2" refType="h" fact="0.2754"/>
            <dgm:constr type="w" for="ch" forName="childText1_2" refType="w" fact="0.4265"/>
            <dgm:constr type="h" for="ch" forName="childText1_2" refType="h" fact="0.4611"/>
            <dgm:constr type="l" for="ch" forName="ellipse1" refType="w" fact="0"/>
            <dgm:constr type="t" for="ch" forName="ellipse1" refType="h" fact="0.3855"/>
            <dgm:constr type="w" for="ch" forName="ellipse1" refType="w" fact="0.2095"/>
            <dgm:constr type="h" for="ch" forName="ellipse1" refType="h" fact="0.2264"/>
            <dgm:constr type="l" for="ch" forName="ellipse3" refType="w" fact="0.6181"/>
            <dgm:constr type="t" for="ch" forName="ellipse3" refType="h" fact="0.7647"/>
            <dgm:constr type="w" for="ch" forName="ellipse3" refType="w" fact="0.1219"/>
            <dgm:constr type="h" for="ch" forName="ellipse3" refType="h" fact="0.1317"/>
            <dgm:constr type="l" for="ch" forName="ellipse2" refType="w" fact="0.6188"/>
            <dgm:constr type="t" for="ch" forName="ellipse2" refType="h" fact="0.0907"/>
            <dgm:constr type="w" for="ch" forName="ellipse2" refType="w" fact="0.1219"/>
            <dgm:constr type="h" for="ch" forName="ellipse2" refType="h" fact="0.1317"/>
          </dgm:constrLst>
        </dgm:if>
        <dgm:else name="Name38">
          <dgm:alg type="composite">
            <dgm:param type="ar" val="0.9472"/>
          </dgm:alg>
          <dgm:constrLst>
            <dgm:constr type="l" for="ch" forName="childText1_3" refType="w" fact="0"/>
            <dgm:constr type="t" for="ch" forName="childText1_3" refType="h" fact="0.6035"/>
            <dgm:constr type="w" for="ch" forName="childText1_3" refType="w" fact="0.4186"/>
            <dgm:constr type="h" for="ch" forName="childText1_3" refType="h" fact="0.3965"/>
            <dgm:constr type="l" for="ch" forName="childText1_1" refType="w" fact="0.0981"/>
            <dgm:constr type="t" for="ch" forName="childText1_1" refType="h" fact="0"/>
            <dgm:constr type="w" for="ch" forName="childText1_1" refType="w" fact="0.4186"/>
            <dgm:constr type="h" for="ch" forName="childText1_1" refType="h" fact="0.3965"/>
            <dgm:constr type="l" for="ch" forName="childText1_2" refType="w" fact="0.5385"/>
            <dgm:constr type="t" for="ch" forName="childText1_2" refType="h" fact="0.1304"/>
            <dgm:constr type="w" for="ch" forName="childText1_2" refType="w" fact="0.4186"/>
            <dgm:constr type="h" for="ch" forName="childText1_2" refType="h" fact="0.3965"/>
            <dgm:constr type="l" for="ch" forName="ellipse4" refType="w" fact="0.3222"/>
            <dgm:constr type="t" for="ch" forName="ellipse4" refType="h" fact="0.4232"/>
            <dgm:constr type="w" for="ch" forName="ellipse4" refType="w" fact="0.2056"/>
            <dgm:constr type="h" for="ch" forName="ellipse4" refType="h" fact="0.1947"/>
            <dgm:constr type="l" for="ch" forName="ellipse1" refType="w" fact="0.1489"/>
            <dgm:constr type="t" for="ch" forName="ellipse1" refType="h" fact="0.4502"/>
            <dgm:constr type="w" for="ch" forName="ellipse1" refType="w" fact="0.1196"/>
            <dgm:constr type="h" for="ch" forName="ellipse1" refType="h" fact="0.1133"/>
            <dgm:constr type="l" for="ch" forName="ellipse2" refType="w" fact="0.5384"/>
            <dgm:constr type="t" for="ch" forName="ellipse2" refType="h" fact="0.0124"/>
            <dgm:constr type="w" for="ch" forName="ellipse2" refType="w" fact="0.1196"/>
            <dgm:constr type="h" for="ch" forName="ellipse2" refType="h" fact="0.1133"/>
            <dgm:constr type="l" for="ch" forName="childText1_4" refType="w" fact="0.4625"/>
            <dgm:constr type="t" for="ch" forName="childText1_4" refType="h" fact="0.5719"/>
            <dgm:constr type="w" for="ch" forName="childText1_4" refType="w" fact="0.4186"/>
            <dgm:constr type="h" for="ch" forName="childText1_4" refType="h" fact="0.3965"/>
            <dgm:constr type="l" for="ch" forName="ellipse3" refType="w" fact="0.8804"/>
            <dgm:constr type="t" for="ch" forName="ellipse3" refType="h" fact="0.5329"/>
            <dgm:constr type="w" for="ch" forName="ellipse3" refType="w" fact="0.1196"/>
            <dgm:constr type="h" for="ch" forName="ellipse3" refType="h" fact="0.1133"/>
            <dgm:constr type="l" for="ch" forName="ellipse5" refType="w" fact="0.0146"/>
            <dgm:constr type="t" for="ch" forName="ellipse5" refType="h" fact="0.5228"/>
            <dgm:constr type="w" for="ch" forName="ellipse5" refType="w" fact="0.0899"/>
            <dgm:constr type="h" for="ch" forName="ellipse5" refType="h" fact="0.0851"/>
          </dgm:constrLst>
        </dgm:else>
      </dgm:choose>
      <dgm:forEach name="Name39" axis="ch ch" ptType="node node" st="1 1" cnt="1 1">
        <dgm:layoutNode name="childText1_1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1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ellipse2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Name40" axis="ch ch" ptType="node node" st="1 2" cnt="1 1">
        <dgm:layoutNode name="childText1_2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3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Name41" axis="ch ch" ptType="node node" st="1 3" cnt="1 1">
        <dgm:layoutNode name="childText1_3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forEach>
      <dgm:forEach name="Name42" axis="ch ch" ptType="node node" st="1 4" cnt="1 1">
        <dgm:layoutNode name="childText1_4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4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ellipse5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</dgm:layoutNode>
    <dgm:choose name="Name43">
      <dgm:if name="Name44" axis="ch ch" ptType="node node" st="3 1" cnt="1 0" func="cnt" op="gte" val="1">
        <dgm:layoutNode name="rightChild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ch des" ptType="node node" st="3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45"/>
    </dgm:choose>
    <dgm:layoutNode name="parentText1" styleLbl="revTx">
      <dgm:varLst>
        <dgm:chMax val="4"/>
        <dgm:chPref val="3"/>
        <dgm:bulletEnabled val="1"/>
      </dgm:varLst>
      <dgm:alg type="tx"/>
      <dgm:shape xmlns:r="http://schemas.openxmlformats.org/officeDocument/2006/relationships" type="rect" r:blip="">
        <dgm:adjLst/>
      </dgm:shape>
      <dgm:presOf axis="ch self" ptType="node node" st="1 1" cnt="1 0"/>
      <dgm:constrLst>
        <dgm:constr type="lMarg" refType="primFontSz" fact="0.3"/>
        <dgm:constr type="rMarg" refType="primFontSz" fact="0.3"/>
        <dgm:constr type="tMarg" refType="primFontSz" fact="0.3"/>
        <dgm:constr type="bMarg" refType="primFontSz" fact="0.3"/>
      </dgm:constrLst>
      <dgm:ruleLst>
        <dgm:rule type="primFontSz" val="5" fact="NaN" max="NaN"/>
      </dgm:ruleLst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rings+Icon">
  <dgm:title val="Interconnected Rings"/>
  <dgm:desc val="Use to show overlapping or interconnected ideas or concepts. The first seven lines of Level 1 text correspond with a circle. Unused text does not appear, but remains available if you switch layouts.  "/>
  <dgm:catLst>
    <dgm:cat type="relationship" pri="32000"/>
    <dgm:cat type="officeonline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0"/>
        <dgm:pt modelId="20"/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/>
        <dgm:pt modelId="20"/>
        <dgm:pt modelId="30"/>
        <dgm:pt modelId="40"/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2" destOrd="0"/>
      </dgm:cxnLst>
      <dgm:bg/>
      <dgm:whole/>
    </dgm:dataModel>
  </dgm:clrData>
  <dgm:layoutNode name="Name0">
    <dgm:varLst>
      <dgm:chMax val="7"/>
      <dgm:dir/>
      <dgm:resizeHandles val="exact"/>
    </dgm:varLst>
    <dgm:choose name="Name1">
      <dgm:if name="Name2" axis="ch" ptType="node" func="cnt" op="lt" val="1">
        <dgm:alg type="composite"/>
        <dgm:shape xmlns:r="http://schemas.openxmlformats.org/officeDocument/2006/relationships" r:blip="">
          <dgm:adjLst/>
        </dgm:shape>
        <dgm:presOf/>
        <dgm:constrLst/>
        <dgm:ruleLst/>
      </dgm:if>
      <dgm:if name="Name3" axis="ch" ptType="node" func="cnt" op="equ" val="1">
        <dgm:alg type="composite">
          <dgm:param type="ar" val="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/>
          <dgm:constr type="h" for="ch" forName="ellipse1" refType="h"/>
        </dgm:constrLst>
      </dgm:if>
      <dgm:if name="Name4" axis="ch" ptType="node" func="cnt" op="equ" val="2">
        <dgm:alg type="composite">
          <dgm:param type="ar" val="0.908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6602"/>
          <dgm:constr type="h" for="ch" forName="ellipse1" refType="h" fact="0.5999"/>
          <dgm:constr type="l" for="ch" forName="ellipse2" refType="w" fact="0.3398"/>
          <dgm:constr type="t" for="ch" forName="ellipse2" refType="h" fact="0.4001"/>
          <dgm:constr type="w" for="ch" forName="ellipse2" refType="w" fact="0.6602"/>
          <dgm:constr type="h" for="ch" forName="ellipse2" refType="h" fact="0.5999"/>
        </dgm:constrLst>
      </dgm:if>
      <dgm:if name="Name5" axis="ch" ptType="node" func="cnt" op="equ" val="3">
        <dgm:alg type="composite">
          <dgm:param type="ar" val="1.217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4929"/>
          <dgm:constr type="h" for="ch" forName="ellipse1" refType="h" fact="0.5999"/>
          <dgm:constr type="l" for="ch" forName="ellipse2" refType="w" fact="0.2537"/>
          <dgm:constr type="t" for="ch" forName="ellipse2" refType="h" fact="0.4001"/>
          <dgm:constr type="w" for="ch" forName="ellipse2" refType="w" fact="0.4929"/>
          <dgm:constr type="h" for="ch" forName="ellipse2" refType="h" fact="0.5999"/>
          <dgm:constr type="l" for="ch" forName="ellipse3" refType="w" fact="0.5071"/>
          <dgm:constr type="t" for="ch" forName="ellipse3" refType="h" fact="0"/>
          <dgm:constr type="w" for="ch" forName="ellipse3" refType="w" fact="0.4929"/>
          <dgm:constr type="h" for="ch" forName="ellipse3" refType="h" fact="0.5999"/>
        </dgm:constrLst>
      </dgm:if>
      <dgm:if name="Name6" axis="ch" ptType="node" func="cnt" op="equ" val="4">
        <dgm:alg type="composite">
          <dgm:param type="ar" val="1.5255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932"/>
          <dgm:constr type="h" for="ch" forName="ellipse1" refType="h" fact="0.5999"/>
          <dgm:constr type="l" for="ch" forName="ellipse2" refType="w" fact="0.2023"/>
          <dgm:constr type="t" for="ch" forName="ellipse2" refType="h" fact="0.4001"/>
          <dgm:constr type="w" for="ch" forName="ellipse2" refType="w" fact="0.3932"/>
          <dgm:constr type="h" for="ch" forName="ellipse2" refType="h" fact="0.5999"/>
          <dgm:constr type="l" for="ch" forName="ellipse3" refType="w" fact="0.4045"/>
          <dgm:constr type="t" for="ch" forName="ellipse3" refType="h" fact="0"/>
          <dgm:constr type="w" for="ch" forName="ellipse3" refType="w" fact="0.3932"/>
          <dgm:constr type="h" for="ch" forName="ellipse3" refType="h" fact="0.5999"/>
          <dgm:constr type="l" for="ch" forName="ellipse4" refType="w" fact="0.6068"/>
          <dgm:constr type="t" for="ch" forName="ellipse4" refType="h" fact="0.4001"/>
          <dgm:constr type="w" for="ch" forName="ellipse4" refType="w" fact="0.3932"/>
          <dgm:constr type="h" for="ch" forName="ellipse4" refType="h" fact="0.5999"/>
        </dgm:constrLst>
      </dgm:if>
      <dgm:if name="Name7" axis="ch" ptType="node" func="cnt" op="equ" val="5">
        <dgm:alg type="composite">
          <dgm:param type="ar" val="1.834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271"/>
          <dgm:constr type="h" for="ch" forName="ellipse1" refType="h" fact="0.5999"/>
          <dgm:constr type="l" for="ch" forName="ellipse2" refType="w" fact="0.1682"/>
          <dgm:constr type="t" for="ch" forName="ellipse2" refType="h" fact="0.4001"/>
          <dgm:constr type="w" for="ch" forName="ellipse2" refType="w" fact="0.3271"/>
          <dgm:constr type="h" for="ch" forName="ellipse2" refType="h" fact="0.5999"/>
          <dgm:constr type="l" for="ch" forName="ellipse3" refType="w" fact="0.3365"/>
          <dgm:constr type="t" for="ch" forName="ellipse3" refType="h" fact="0"/>
          <dgm:constr type="w" for="ch" forName="ellipse3" refType="w" fact="0.3271"/>
          <dgm:constr type="h" for="ch" forName="ellipse3" refType="h" fact="0.5999"/>
          <dgm:constr type="l" for="ch" forName="ellipse4" refType="w" fact="0.5047"/>
          <dgm:constr type="t" for="ch" forName="ellipse4" refType="h" fact="0.4001"/>
          <dgm:constr type="w" for="ch" forName="ellipse4" refType="w" fact="0.3271"/>
          <dgm:constr type="h" for="ch" forName="ellipse4" refType="h" fact="0.5999"/>
          <dgm:constr type="l" for="ch" forName="ellipse5" refType="w" fact="0.6729"/>
          <dgm:constr type="t" for="ch" forName="ellipse5" refType="h" fact="0"/>
          <dgm:constr type="w" for="ch" forName="ellipse5" refType="w" fact="0.3271"/>
          <dgm:constr type="h" for="ch" forName="ellipse5" refType="h" fact="0.5999"/>
        </dgm:constrLst>
      </dgm:if>
      <dgm:if name="Name8" axis="ch" ptType="node" func="cnt" op="equ" val="6">
        <dgm:alg type="composite">
          <dgm:param type="ar" val="2.1873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78"/>
          <dgm:constr type="h" for="ch" forName="ellipse1" refType="h" fact="0.6081"/>
          <dgm:constr type="l" for="ch" forName="ellipse2" refType="w" fact="0.1444"/>
          <dgm:constr type="t" for="ch" forName="ellipse2" refType="h" fact="0.3919"/>
          <dgm:constr type="w" for="ch" forName="ellipse2" refType="w" fact="0.278"/>
          <dgm:constr type="h" for="ch" forName="ellipse2" refType="h" fact="0.6081"/>
          <dgm:constr type="l" for="ch" forName="ellipse3" refType="w" fact="0.2888"/>
          <dgm:constr type="t" for="ch" forName="ellipse3" refType="h" fact="0"/>
          <dgm:constr type="w" for="ch" forName="ellipse3" refType="w" fact="0.278"/>
          <dgm:constr type="h" for="ch" forName="ellipse3" refType="h" fact="0.6081"/>
          <dgm:constr type="l" for="ch" forName="ellipse4" refType="w" fact="0.4332"/>
          <dgm:constr type="t" for="ch" forName="ellipse4" refType="h" fact="0.3919"/>
          <dgm:constr type="w" for="ch" forName="ellipse4" refType="w" fact="0.278"/>
          <dgm:constr type="h" for="ch" forName="ellipse4" refType="h" fact="0.6081"/>
          <dgm:constr type="l" for="ch" forName="ellipse5" refType="w" fact="0.5776"/>
          <dgm:constr type="t" for="ch" forName="ellipse5" refType="h" fact="0"/>
          <dgm:constr type="w" for="ch" forName="ellipse5" refType="w" fact="0.278"/>
          <dgm:constr type="h" for="ch" forName="ellipse5" refType="h" fact="0.6081"/>
          <dgm:constr type="l" for="ch" forName="ellipse6" refType="w" fact="0.722"/>
          <dgm:constr type="t" for="ch" forName="ellipse6" refType="h" fact="0.3919"/>
          <dgm:constr type="w" for="ch" forName="ellipse6" refType="w" fact="0.278"/>
          <dgm:constr type="h" for="ch" forName="ellipse6" refType="h" fact="0.6081"/>
        </dgm:constrLst>
      </dgm:if>
      <dgm:else name="Name9">
        <dgm:alg type="composite">
          <dgm:param type="ar" val="2.346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455"/>
          <dgm:constr type="h" for="ch" forName="ellipse1" refType="h" fact="0.5761"/>
          <dgm:constr type="l" for="ch" forName="ellipse2" refType="w" fact="0.1257"/>
          <dgm:constr type="t" for="ch" forName="ellipse2" refType="h" fact="0.4239"/>
          <dgm:constr type="w" for="ch" forName="ellipse2" refType="w" fact="0.2455"/>
          <dgm:constr type="h" for="ch" forName="ellipse2" refType="h" fact="0.5761"/>
          <dgm:constr type="l" for="ch" forName="ellipse3" refType="w" fact="0.2515"/>
          <dgm:constr type="t" for="ch" forName="ellipse3" refType="h" fact="0"/>
          <dgm:constr type="w" for="ch" forName="ellipse3" refType="w" fact="0.2455"/>
          <dgm:constr type="h" for="ch" forName="ellipse3" refType="h" fact="0.5761"/>
          <dgm:constr type="l" for="ch" forName="ellipse4" refType="w" fact="0.3772"/>
          <dgm:constr type="t" for="ch" forName="ellipse4" refType="h" fact="0.4239"/>
          <dgm:constr type="w" for="ch" forName="ellipse4" refType="w" fact="0.2455"/>
          <dgm:constr type="h" for="ch" forName="ellipse4" refType="h" fact="0.5761"/>
          <dgm:constr type="l" for="ch" forName="ellipse5" refType="w" fact="0.503"/>
          <dgm:constr type="t" for="ch" forName="ellipse5" refType="h" fact="0"/>
          <dgm:constr type="w" for="ch" forName="ellipse5" refType="w" fact="0.2455"/>
          <dgm:constr type="h" for="ch" forName="ellipse5" refType="h" fact="0.5761"/>
          <dgm:constr type="l" for="ch" forName="ellipse6" refType="w" fact="0.6287"/>
          <dgm:constr type="t" for="ch" forName="ellipse6" refType="h" fact="0.4239"/>
          <dgm:constr type="w" for="ch" forName="ellipse6" refType="w" fact="0.2455"/>
          <dgm:constr type="h" for="ch" forName="ellipse6" refType="h" fact="0.5761"/>
          <dgm:constr type="l" for="ch" forName="ellipse7" refType="w" fact="0.7545"/>
          <dgm:constr type="t" for="ch" forName="ellipse7" refType="h" fact="0"/>
          <dgm:constr type="w" for="ch" forName="ellipse7" refType="w" fact="0.2455"/>
          <dgm:constr type="h" for="ch" forName="ellipse7" refType="h" fact="0.5761"/>
        </dgm:constrLst>
      </dgm:else>
    </dgm:choose>
    <dgm:choose name="Name10">
      <dgm:if name="Name11" axis="ch" ptType="node" func="cnt" op="gte" val="1">
        <dgm:layoutNode name="ellipse1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12">
            <dgm:if name="Name13" func="var" arg="dir" op="equ" val="norm">
              <dgm:presOf axis="ch desOrSelf" ptType="node node" st="1 1" cnt="1 0"/>
            </dgm:if>
            <dgm:else name="Name14">
              <dgm:choose name="Name15">
                <dgm:if name="Name16" axis="ch" ptType="node" func="cnt" op="equ" val="1">
                  <dgm:presOf axis="ch desOrSelf" ptType="node node" st="1 1" cnt="1 0"/>
                </dgm:if>
                <dgm:if name="Name17" axis="ch" ptType="node" func="cnt" op="equ" val="2">
                  <dgm:presOf axis="ch desOrSelf" ptType="node node" st="2 1" cnt="1 0"/>
                </dgm:if>
                <dgm:if name="Name18" axis="ch" ptType="node" func="cnt" op="equ" val="3">
                  <dgm:presOf axis="ch desOrSelf" ptType="node node" st="3 1" cnt="1 0"/>
                </dgm:if>
                <dgm:if name="Name19" axis="ch" ptType="node" func="cnt" op="equ" val="4">
                  <dgm:presOf axis="ch desOrSelf" ptType="node node" st="4 1" cnt="1 0"/>
                </dgm:if>
                <dgm:if name="Name20" axis="ch" ptType="node" func="cnt" op="equ" val="5">
                  <dgm:presOf axis="ch desOrSelf" ptType="node node" st="5 1" cnt="1 0"/>
                </dgm:if>
                <dgm:if name="Name21" axis="ch" ptType="node" func="cnt" op="equ" val="6">
                  <dgm:presOf axis="ch desOrSelf" ptType="node node" st="6 1" cnt="1 0"/>
                </dgm:if>
                <dgm:if name="Name22" axis="ch" ptType="node" func="cnt" op="gte" val="7">
                  <dgm:presOf axis="ch desOrSelf" ptType="node node" st="7 1" cnt="1 0"/>
                </dgm:if>
                <dgm:else name="Name2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24"/>
    </dgm:choose>
    <dgm:choose name="Name25">
      <dgm:if name="Name26" axis="ch" ptType="node" func="cnt" op="gte" val="2">
        <dgm:layoutNode name="ellipse2" styleLbl="vennNode1">
          <dgm:varLst>
            <dgm:bulletEnabled val="1"/>
          </dgm:varLst>
          <dgm:alg type="tx"/>
          <dgm:choose name="Name27">
            <dgm:if name="Name2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2 1" cnt="1 0"/>
            </dgm:if>
            <dgm:else name="Name29">
              <dgm:shape xmlns:r="http://schemas.openxmlformats.org/officeDocument/2006/relationships" type="ellipse" r:blip="" zOrderOff="-2">
                <dgm:adjLst/>
              </dgm:shape>
              <dgm:choose name="Name30">
                <dgm:if name="Name31" axis="ch" ptType="node" func="cnt" op="equ" val="2">
                  <dgm:presOf axis="ch desOrSelf" ptType="node node" st="1 1" cnt="1 0"/>
                </dgm:if>
                <dgm:if name="Name32" axis="ch" ptType="node" func="cnt" op="equ" val="3">
                  <dgm:presOf axis="ch desOrSelf" ptType="node node" st="2 1" cnt="1 0"/>
                </dgm:if>
                <dgm:if name="Name33" axis="ch" ptType="node" func="cnt" op="equ" val="4">
                  <dgm:presOf axis="ch desOrSelf" ptType="node node" st="3 1" cnt="1 0"/>
                </dgm:if>
                <dgm:if name="Name34" axis="ch" ptType="node" func="cnt" op="equ" val="5">
                  <dgm:presOf axis="ch desOrSelf" ptType="node node" st="4 1" cnt="1 0"/>
                </dgm:if>
                <dgm:if name="Name35" axis="ch" ptType="node" func="cnt" op="equ" val="6">
                  <dgm:presOf axis="ch desOrSelf" ptType="node node" st="5 1" cnt="1 0"/>
                </dgm:if>
                <dgm:if name="Name36" axis="ch" ptType="node" func="cnt" op="gte" val="7">
                  <dgm:presOf axis="ch desOrSelf" ptType="node node" st="6 1" cnt="1 0"/>
                </dgm:if>
                <dgm:else name="Name37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  <dgm:choose name="Name39">
      <dgm:if name="Name40" axis="ch" ptType="node" func="cnt" op="gte" val="3">
        <dgm:layoutNode name="ellipse3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41">
            <dgm:if name="Name42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3 1" cnt="1 0"/>
            </dgm:if>
            <dgm:else name="Name43">
              <dgm:shape xmlns:r="http://schemas.openxmlformats.org/officeDocument/2006/relationships" type="ellipse" r:blip="" zOrderOff="-4">
                <dgm:adjLst/>
              </dgm:shape>
              <dgm:choose name="Name44">
                <dgm:if name="Name45" axis="ch" ptType="node" func="cnt" op="equ" val="3">
                  <dgm:presOf axis="ch desOrSelf" ptType="node node" st="1 1" cnt="1 0"/>
                </dgm:if>
                <dgm:if name="Name46" axis="ch" ptType="node" func="cnt" op="equ" val="4">
                  <dgm:presOf axis="ch desOrSelf" ptType="node node" st="2 1" cnt="1 0"/>
                </dgm:if>
                <dgm:if name="Name47" axis="ch" ptType="node" func="cnt" op="equ" val="5">
                  <dgm:presOf axis="ch desOrSelf" ptType="node node" st="3 1" cnt="1 0"/>
                </dgm:if>
                <dgm:if name="Name48" axis="ch" ptType="node" func="cnt" op="equ" val="6">
                  <dgm:presOf axis="ch desOrSelf" ptType="node node" st="4 1" cnt="1 0"/>
                </dgm:if>
                <dgm:if name="Name49" axis="ch" ptType="node" func="cnt" op="gte" val="7">
                  <dgm:presOf axis="ch desOrSelf" ptType="node node" st="5 1" cnt="1 0"/>
                </dgm:if>
                <dgm:else name="Name50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1"/>
    </dgm:choose>
    <dgm:choose name="Name52">
      <dgm:if name="Name53" axis="ch" ptType="node" func="cnt" op="gte" val="4">
        <dgm:layoutNode name="ellipse4" styleLbl="vennNode1">
          <dgm:varLst>
            <dgm:bulletEnabled val="1"/>
          </dgm:varLst>
          <dgm:alg type="tx"/>
          <dgm:choose name="Name54">
            <dgm:if name="Name55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4 1" cnt="1 0"/>
            </dgm:if>
            <dgm:else name="Name56">
              <dgm:shape xmlns:r="http://schemas.openxmlformats.org/officeDocument/2006/relationships" type="ellipse" r:blip="" zOrderOff="-6">
                <dgm:adjLst/>
              </dgm:shape>
              <dgm:choose name="Name57">
                <dgm:if name="Name58" axis="ch" ptType="node" func="cnt" op="equ" val="4">
                  <dgm:presOf axis="ch desOrSelf" ptType="node node" st="1 1" cnt="1 0"/>
                </dgm:if>
                <dgm:if name="Name59" axis="ch" ptType="node" func="cnt" op="equ" val="5">
                  <dgm:presOf axis="ch desOrSelf" ptType="node node" st="2 1" cnt="1 0"/>
                </dgm:if>
                <dgm:if name="Name60" axis="ch" ptType="node" func="cnt" op="equ" val="6">
                  <dgm:presOf axis="ch desOrSelf" ptType="node node" st="3 1" cnt="1 0"/>
                </dgm:if>
                <dgm:if name="Name61" axis="ch" ptType="node" func="cnt" op="gte" val="7">
                  <dgm:presOf axis="ch desOrSelf" ptType="node node" st="4 1" cnt="1 0"/>
                </dgm:if>
                <dgm:else name="Name62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63"/>
    </dgm:choose>
    <dgm:choose name="Name64">
      <dgm:if name="Name65" axis="ch" ptType="node" func="cnt" op="gte" val="5">
        <dgm:layoutNode name="ellipse5" styleLbl="vennNode1">
          <dgm:varLst>
            <dgm:bulletEnabled val="1"/>
          </dgm:varLst>
          <dgm:alg type="tx"/>
          <dgm:choose name="Name66">
            <dgm:if name="Name67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5 1" cnt="1 0"/>
            </dgm:if>
            <dgm:else name="Name68">
              <dgm:shape xmlns:r="http://schemas.openxmlformats.org/officeDocument/2006/relationships" type="ellipse" r:blip="" zOrderOff="-8">
                <dgm:adjLst/>
              </dgm:shape>
              <dgm:choose name="Name69">
                <dgm:if name="Name70" axis="ch" ptType="node" func="cnt" op="equ" val="5">
                  <dgm:presOf axis="ch desOrSelf" ptType="node node" st="1 1" cnt="1 0"/>
                </dgm:if>
                <dgm:if name="Name71" axis="ch" ptType="node" func="cnt" op="equ" val="6">
                  <dgm:presOf axis="ch desOrSelf" ptType="node node" st="2 1" cnt="1 0"/>
                </dgm:if>
                <dgm:if name="Name72" axis="ch" ptType="node" func="cnt" op="gte" val="7">
                  <dgm:presOf axis="ch desOrSelf" ptType="node node" st="3 1" cnt="1 0"/>
                </dgm:if>
                <dgm:else name="Name7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74"/>
    </dgm:choose>
    <dgm:choose name="Name75">
      <dgm:if name="Name76" axis="ch" ptType="node" func="cnt" op="gte" val="6">
        <dgm:layoutNode name="ellipse6" styleLbl="vennNode1">
          <dgm:varLst>
            <dgm:bulletEnabled val="1"/>
          </dgm:varLst>
          <dgm:alg type="tx"/>
          <dgm:choose name="Name77">
            <dgm:if name="Name7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6 1" cnt="1 0"/>
            </dgm:if>
            <dgm:else name="Name79">
              <dgm:shape xmlns:r="http://schemas.openxmlformats.org/officeDocument/2006/relationships" type="ellipse" r:blip="" zOrderOff="-10">
                <dgm:adjLst/>
              </dgm:shape>
              <dgm:choose name="Name80">
                <dgm:if name="Name81" axis="ch" ptType="node" func="cnt" op="equ" val="6">
                  <dgm:presOf axis="ch desOrSelf" ptType="node node" st="1 1" cnt="1 0"/>
                </dgm:if>
                <dgm:if name="Name82" axis="ch" ptType="node" func="cnt" op="gte" val="7">
                  <dgm:presOf axis="ch desOrSelf" ptType="node node" st="2 1" cnt="1 0"/>
                </dgm:if>
                <dgm:else name="Name8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84"/>
    </dgm:choose>
    <dgm:choose name="Name85">
      <dgm:if name="Name86" axis="ch" ptType="node" func="cnt" op="gte" val="7">
        <dgm:layoutNode name="ellipse7" styleLbl="vennNode1">
          <dgm:varLst>
            <dgm:bulletEnabled val="1"/>
          </dgm:varLst>
          <dgm:alg type="tx"/>
          <dgm:choose name="Name87">
            <dgm:if name="Name8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7 1" cnt="1 0"/>
            </dgm:if>
            <dgm:else name="Name89">
              <dgm:shape xmlns:r="http://schemas.openxmlformats.org/officeDocument/2006/relationships" type="ellipse" r:blip="" zOrderOff="-12">
                <dgm:adjLst/>
              </dgm:shape>
              <dgm:presOf axis="ch desOrSelf" ptType="node node" st="1 1" cnt="1 0"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90"/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rings+Icon">
  <dgm:title val="Interconnected Rings"/>
  <dgm:desc val="Use to show overlapping or interconnected ideas or concepts. The first seven lines of Level 1 text correspond with a circle. Unused text does not appear, but remains available if you switch layouts.  "/>
  <dgm:catLst>
    <dgm:cat type="relationship" pri="32000"/>
    <dgm:cat type="officeonline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0"/>
        <dgm:pt modelId="20"/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/>
        <dgm:pt modelId="20"/>
        <dgm:pt modelId="30"/>
        <dgm:pt modelId="40"/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2" destOrd="0"/>
      </dgm:cxnLst>
      <dgm:bg/>
      <dgm:whole/>
    </dgm:dataModel>
  </dgm:clrData>
  <dgm:layoutNode name="Name0">
    <dgm:varLst>
      <dgm:chMax val="7"/>
      <dgm:dir/>
      <dgm:resizeHandles val="exact"/>
    </dgm:varLst>
    <dgm:choose name="Name1">
      <dgm:if name="Name2" axis="ch" ptType="node" func="cnt" op="lt" val="1">
        <dgm:alg type="composite"/>
        <dgm:shape xmlns:r="http://schemas.openxmlformats.org/officeDocument/2006/relationships" r:blip="">
          <dgm:adjLst/>
        </dgm:shape>
        <dgm:presOf/>
        <dgm:constrLst/>
        <dgm:ruleLst/>
      </dgm:if>
      <dgm:if name="Name3" axis="ch" ptType="node" func="cnt" op="equ" val="1">
        <dgm:alg type="composite">
          <dgm:param type="ar" val="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/>
          <dgm:constr type="h" for="ch" forName="ellipse1" refType="h"/>
        </dgm:constrLst>
      </dgm:if>
      <dgm:if name="Name4" axis="ch" ptType="node" func="cnt" op="equ" val="2">
        <dgm:alg type="composite">
          <dgm:param type="ar" val="0.908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6602"/>
          <dgm:constr type="h" for="ch" forName="ellipse1" refType="h" fact="0.5999"/>
          <dgm:constr type="l" for="ch" forName="ellipse2" refType="w" fact="0.3398"/>
          <dgm:constr type="t" for="ch" forName="ellipse2" refType="h" fact="0.4001"/>
          <dgm:constr type="w" for="ch" forName="ellipse2" refType="w" fact="0.6602"/>
          <dgm:constr type="h" for="ch" forName="ellipse2" refType="h" fact="0.5999"/>
        </dgm:constrLst>
      </dgm:if>
      <dgm:if name="Name5" axis="ch" ptType="node" func="cnt" op="equ" val="3">
        <dgm:alg type="composite">
          <dgm:param type="ar" val="1.217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4929"/>
          <dgm:constr type="h" for="ch" forName="ellipse1" refType="h" fact="0.5999"/>
          <dgm:constr type="l" for="ch" forName="ellipse2" refType="w" fact="0.2537"/>
          <dgm:constr type="t" for="ch" forName="ellipse2" refType="h" fact="0.4001"/>
          <dgm:constr type="w" for="ch" forName="ellipse2" refType="w" fact="0.4929"/>
          <dgm:constr type="h" for="ch" forName="ellipse2" refType="h" fact="0.5999"/>
          <dgm:constr type="l" for="ch" forName="ellipse3" refType="w" fact="0.5071"/>
          <dgm:constr type="t" for="ch" forName="ellipse3" refType="h" fact="0"/>
          <dgm:constr type="w" for="ch" forName="ellipse3" refType="w" fact="0.4929"/>
          <dgm:constr type="h" for="ch" forName="ellipse3" refType="h" fact="0.5999"/>
        </dgm:constrLst>
      </dgm:if>
      <dgm:if name="Name6" axis="ch" ptType="node" func="cnt" op="equ" val="4">
        <dgm:alg type="composite">
          <dgm:param type="ar" val="1.5255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932"/>
          <dgm:constr type="h" for="ch" forName="ellipse1" refType="h" fact="0.5999"/>
          <dgm:constr type="l" for="ch" forName="ellipse2" refType="w" fact="0.2023"/>
          <dgm:constr type="t" for="ch" forName="ellipse2" refType="h" fact="0.4001"/>
          <dgm:constr type="w" for="ch" forName="ellipse2" refType="w" fact="0.3932"/>
          <dgm:constr type="h" for="ch" forName="ellipse2" refType="h" fact="0.5999"/>
          <dgm:constr type="l" for="ch" forName="ellipse3" refType="w" fact="0.4045"/>
          <dgm:constr type="t" for="ch" forName="ellipse3" refType="h" fact="0"/>
          <dgm:constr type="w" for="ch" forName="ellipse3" refType="w" fact="0.3932"/>
          <dgm:constr type="h" for="ch" forName="ellipse3" refType="h" fact="0.5999"/>
          <dgm:constr type="l" for="ch" forName="ellipse4" refType="w" fact="0.6068"/>
          <dgm:constr type="t" for="ch" forName="ellipse4" refType="h" fact="0.4001"/>
          <dgm:constr type="w" for="ch" forName="ellipse4" refType="w" fact="0.3932"/>
          <dgm:constr type="h" for="ch" forName="ellipse4" refType="h" fact="0.5999"/>
        </dgm:constrLst>
      </dgm:if>
      <dgm:if name="Name7" axis="ch" ptType="node" func="cnt" op="equ" val="5">
        <dgm:alg type="composite">
          <dgm:param type="ar" val="1.834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271"/>
          <dgm:constr type="h" for="ch" forName="ellipse1" refType="h" fact="0.5999"/>
          <dgm:constr type="l" for="ch" forName="ellipse2" refType="w" fact="0.1682"/>
          <dgm:constr type="t" for="ch" forName="ellipse2" refType="h" fact="0.4001"/>
          <dgm:constr type="w" for="ch" forName="ellipse2" refType="w" fact="0.3271"/>
          <dgm:constr type="h" for="ch" forName="ellipse2" refType="h" fact="0.5999"/>
          <dgm:constr type="l" for="ch" forName="ellipse3" refType="w" fact="0.3365"/>
          <dgm:constr type="t" for="ch" forName="ellipse3" refType="h" fact="0"/>
          <dgm:constr type="w" for="ch" forName="ellipse3" refType="w" fact="0.3271"/>
          <dgm:constr type="h" for="ch" forName="ellipse3" refType="h" fact="0.5999"/>
          <dgm:constr type="l" for="ch" forName="ellipse4" refType="w" fact="0.5047"/>
          <dgm:constr type="t" for="ch" forName="ellipse4" refType="h" fact="0.4001"/>
          <dgm:constr type="w" for="ch" forName="ellipse4" refType="w" fact="0.3271"/>
          <dgm:constr type="h" for="ch" forName="ellipse4" refType="h" fact="0.5999"/>
          <dgm:constr type="l" for="ch" forName="ellipse5" refType="w" fact="0.6729"/>
          <dgm:constr type="t" for="ch" forName="ellipse5" refType="h" fact="0"/>
          <dgm:constr type="w" for="ch" forName="ellipse5" refType="w" fact="0.3271"/>
          <dgm:constr type="h" for="ch" forName="ellipse5" refType="h" fact="0.5999"/>
        </dgm:constrLst>
      </dgm:if>
      <dgm:if name="Name8" axis="ch" ptType="node" func="cnt" op="equ" val="6">
        <dgm:alg type="composite">
          <dgm:param type="ar" val="2.1873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78"/>
          <dgm:constr type="h" for="ch" forName="ellipse1" refType="h" fact="0.6081"/>
          <dgm:constr type="l" for="ch" forName="ellipse2" refType="w" fact="0.1444"/>
          <dgm:constr type="t" for="ch" forName="ellipse2" refType="h" fact="0.3919"/>
          <dgm:constr type="w" for="ch" forName="ellipse2" refType="w" fact="0.278"/>
          <dgm:constr type="h" for="ch" forName="ellipse2" refType="h" fact="0.6081"/>
          <dgm:constr type="l" for="ch" forName="ellipse3" refType="w" fact="0.2888"/>
          <dgm:constr type="t" for="ch" forName="ellipse3" refType="h" fact="0"/>
          <dgm:constr type="w" for="ch" forName="ellipse3" refType="w" fact="0.278"/>
          <dgm:constr type="h" for="ch" forName="ellipse3" refType="h" fact="0.6081"/>
          <dgm:constr type="l" for="ch" forName="ellipse4" refType="w" fact="0.4332"/>
          <dgm:constr type="t" for="ch" forName="ellipse4" refType="h" fact="0.3919"/>
          <dgm:constr type="w" for="ch" forName="ellipse4" refType="w" fact="0.278"/>
          <dgm:constr type="h" for="ch" forName="ellipse4" refType="h" fact="0.6081"/>
          <dgm:constr type="l" for="ch" forName="ellipse5" refType="w" fact="0.5776"/>
          <dgm:constr type="t" for="ch" forName="ellipse5" refType="h" fact="0"/>
          <dgm:constr type="w" for="ch" forName="ellipse5" refType="w" fact="0.278"/>
          <dgm:constr type="h" for="ch" forName="ellipse5" refType="h" fact="0.6081"/>
          <dgm:constr type="l" for="ch" forName="ellipse6" refType="w" fact="0.722"/>
          <dgm:constr type="t" for="ch" forName="ellipse6" refType="h" fact="0.3919"/>
          <dgm:constr type="w" for="ch" forName="ellipse6" refType="w" fact="0.278"/>
          <dgm:constr type="h" for="ch" forName="ellipse6" refType="h" fact="0.6081"/>
        </dgm:constrLst>
      </dgm:if>
      <dgm:else name="Name9">
        <dgm:alg type="composite">
          <dgm:param type="ar" val="2.346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455"/>
          <dgm:constr type="h" for="ch" forName="ellipse1" refType="h" fact="0.5761"/>
          <dgm:constr type="l" for="ch" forName="ellipse2" refType="w" fact="0.1257"/>
          <dgm:constr type="t" for="ch" forName="ellipse2" refType="h" fact="0.4239"/>
          <dgm:constr type="w" for="ch" forName="ellipse2" refType="w" fact="0.2455"/>
          <dgm:constr type="h" for="ch" forName="ellipse2" refType="h" fact="0.5761"/>
          <dgm:constr type="l" for="ch" forName="ellipse3" refType="w" fact="0.2515"/>
          <dgm:constr type="t" for="ch" forName="ellipse3" refType="h" fact="0"/>
          <dgm:constr type="w" for="ch" forName="ellipse3" refType="w" fact="0.2455"/>
          <dgm:constr type="h" for="ch" forName="ellipse3" refType="h" fact="0.5761"/>
          <dgm:constr type="l" for="ch" forName="ellipse4" refType="w" fact="0.3772"/>
          <dgm:constr type="t" for="ch" forName="ellipse4" refType="h" fact="0.4239"/>
          <dgm:constr type="w" for="ch" forName="ellipse4" refType="w" fact="0.2455"/>
          <dgm:constr type="h" for="ch" forName="ellipse4" refType="h" fact="0.5761"/>
          <dgm:constr type="l" for="ch" forName="ellipse5" refType="w" fact="0.503"/>
          <dgm:constr type="t" for="ch" forName="ellipse5" refType="h" fact="0"/>
          <dgm:constr type="w" for="ch" forName="ellipse5" refType="w" fact="0.2455"/>
          <dgm:constr type="h" for="ch" forName="ellipse5" refType="h" fact="0.5761"/>
          <dgm:constr type="l" for="ch" forName="ellipse6" refType="w" fact="0.6287"/>
          <dgm:constr type="t" for="ch" forName="ellipse6" refType="h" fact="0.4239"/>
          <dgm:constr type="w" for="ch" forName="ellipse6" refType="w" fact="0.2455"/>
          <dgm:constr type="h" for="ch" forName="ellipse6" refType="h" fact="0.5761"/>
          <dgm:constr type="l" for="ch" forName="ellipse7" refType="w" fact="0.7545"/>
          <dgm:constr type="t" for="ch" forName="ellipse7" refType="h" fact="0"/>
          <dgm:constr type="w" for="ch" forName="ellipse7" refType="w" fact="0.2455"/>
          <dgm:constr type="h" for="ch" forName="ellipse7" refType="h" fact="0.5761"/>
        </dgm:constrLst>
      </dgm:else>
    </dgm:choose>
    <dgm:choose name="Name10">
      <dgm:if name="Name11" axis="ch" ptType="node" func="cnt" op="gte" val="1">
        <dgm:layoutNode name="ellipse1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12">
            <dgm:if name="Name13" func="var" arg="dir" op="equ" val="norm">
              <dgm:presOf axis="ch desOrSelf" ptType="node node" st="1 1" cnt="1 0"/>
            </dgm:if>
            <dgm:else name="Name14">
              <dgm:choose name="Name15">
                <dgm:if name="Name16" axis="ch" ptType="node" func="cnt" op="equ" val="1">
                  <dgm:presOf axis="ch desOrSelf" ptType="node node" st="1 1" cnt="1 0"/>
                </dgm:if>
                <dgm:if name="Name17" axis="ch" ptType="node" func="cnt" op="equ" val="2">
                  <dgm:presOf axis="ch desOrSelf" ptType="node node" st="2 1" cnt="1 0"/>
                </dgm:if>
                <dgm:if name="Name18" axis="ch" ptType="node" func="cnt" op="equ" val="3">
                  <dgm:presOf axis="ch desOrSelf" ptType="node node" st="3 1" cnt="1 0"/>
                </dgm:if>
                <dgm:if name="Name19" axis="ch" ptType="node" func="cnt" op="equ" val="4">
                  <dgm:presOf axis="ch desOrSelf" ptType="node node" st="4 1" cnt="1 0"/>
                </dgm:if>
                <dgm:if name="Name20" axis="ch" ptType="node" func="cnt" op="equ" val="5">
                  <dgm:presOf axis="ch desOrSelf" ptType="node node" st="5 1" cnt="1 0"/>
                </dgm:if>
                <dgm:if name="Name21" axis="ch" ptType="node" func="cnt" op="equ" val="6">
                  <dgm:presOf axis="ch desOrSelf" ptType="node node" st="6 1" cnt="1 0"/>
                </dgm:if>
                <dgm:if name="Name22" axis="ch" ptType="node" func="cnt" op="gte" val="7">
                  <dgm:presOf axis="ch desOrSelf" ptType="node node" st="7 1" cnt="1 0"/>
                </dgm:if>
                <dgm:else name="Name2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24"/>
    </dgm:choose>
    <dgm:choose name="Name25">
      <dgm:if name="Name26" axis="ch" ptType="node" func="cnt" op="gte" val="2">
        <dgm:layoutNode name="ellipse2" styleLbl="vennNode1">
          <dgm:varLst>
            <dgm:bulletEnabled val="1"/>
          </dgm:varLst>
          <dgm:alg type="tx"/>
          <dgm:choose name="Name27">
            <dgm:if name="Name2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2 1" cnt="1 0"/>
            </dgm:if>
            <dgm:else name="Name29">
              <dgm:shape xmlns:r="http://schemas.openxmlformats.org/officeDocument/2006/relationships" type="ellipse" r:blip="" zOrderOff="-2">
                <dgm:adjLst/>
              </dgm:shape>
              <dgm:choose name="Name30">
                <dgm:if name="Name31" axis="ch" ptType="node" func="cnt" op="equ" val="2">
                  <dgm:presOf axis="ch desOrSelf" ptType="node node" st="1 1" cnt="1 0"/>
                </dgm:if>
                <dgm:if name="Name32" axis="ch" ptType="node" func="cnt" op="equ" val="3">
                  <dgm:presOf axis="ch desOrSelf" ptType="node node" st="2 1" cnt="1 0"/>
                </dgm:if>
                <dgm:if name="Name33" axis="ch" ptType="node" func="cnt" op="equ" val="4">
                  <dgm:presOf axis="ch desOrSelf" ptType="node node" st="3 1" cnt="1 0"/>
                </dgm:if>
                <dgm:if name="Name34" axis="ch" ptType="node" func="cnt" op="equ" val="5">
                  <dgm:presOf axis="ch desOrSelf" ptType="node node" st="4 1" cnt="1 0"/>
                </dgm:if>
                <dgm:if name="Name35" axis="ch" ptType="node" func="cnt" op="equ" val="6">
                  <dgm:presOf axis="ch desOrSelf" ptType="node node" st="5 1" cnt="1 0"/>
                </dgm:if>
                <dgm:if name="Name36" axis="ch" ptType="node" func="cnt" op="gte" val="7">
                  <dgm:presOf axis="ch desOrSelf" ptType="node node" st="6 1" cnt="1 0"/>
                </dgm:if>
                <dgm:else name="Name37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  <dgm:choose name="Name39">
      <dgm:if name="Name40" axis="ch" ptType="node" func="cnt" op="gte" val="3">
        <dgm:layoutNode name="ellipse3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41">
            <dgm:if name="Name42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3 1" cnt="1 0"/>
            </dgm:if>
            <dgm:else name="Name43">
              <dgm:shape xmlns:r="http://schemas.openxmlformats.org/officeDocument/2006/relationships" type="ellipse" r:blip="" zOrderOff="-4">
                <dgm:adjLst/>
              </dgm:shape>
              <dgm:choose name="Name44">
                <dgm:if name="Name45" axis="ch" ptType="node" func="cnt" op="equ" val="3">
                  <dgm:presOf axis="ch desOrSelf" ptType="node node" st="1 1" cnt="1 0"/>
                </dgm:if>
                <dgm:if name="Name46" axis="ch" ptType="node" func="cnt" op="equ" val="4">
                  <dgm:presOf axis="ch desOrSelf" ptType="node node" st="2 1" cnt="1 0"/>
                </dgm:if>
                <dgm:if name="Name47" axis="ch" ptType="node" func="cnt" op="equ" val="5">
                  <dgm:presOf axis="ch desOrSelf" ptType="node node" st="3 1" cnt="1 0"/>
                </dgm:if>
                <dgm:if name="Name48" axis="ch" ptType="node" func="cnt" op="equ" val="6">
                  <dgm:presOf axis="ch desOrSelf" ptType="node node" st="4 1" cnt="1 0"/>
                </dgm:if>
                <dgm:if name="Name49" axis="ch" ptType="node" func="cnt" op="gte" val="7">
                  <dgm:presOf axis="ch desOrSelf" ptType="node node" st="5 1" cnt="1 0"/>
                </dgm:if>
                <dgm:else name="Name50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1"/>
    </dgm:choose>
    <dgm:choose name="Name52">
      <dgm:if name="Name53" axis="ch" ptType="node" func="cnt" op="gte" val="4">
        <dgm:layoutNode name="ellipse4" styleLbl="vennNode1">
          <dgm:varLst>
            <dgm:bulletEnabled val="1"/>
          </dgm:varLst>
          <dgm:alg type="tx"/>
          <dgm:choose name="Name54">
            <dgm:if name="Name55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4 1" cnt="1 0"/>
            </dgm:if>
            <dgm:else name="Name56">
              <dgm:shape xmlns:r="http://schemas.openxmlformats.org/officeDocument/2006/relationships" type="ellipse" r:blip="" zOrderOff="-6">
                <dgm:adjLst/>
              </dgm:shape>
              <dgm:choose name="Name57">
                <dgm:if name="Name58" axis="ch" ptType="node" func="cnt" op="equ" val="4">
                  <dgm:presOf axis="ch desOrSelf" ptType="node node" st="1 1" cnt="1 0"/>
                </dgm:if>
                <dgm:if name="Name59" axis="ch" ptType="node" func="cnt" op="equ" val="5">
                  <dgm:presOf axis="ch desOrSelf" ptType="node node" st="2 1" cnt="1 0"/>
                </dgm:if>
                <dgm:if name="Name60" axis="ch" ptType="node" func="cnt" op="equ" val="6">
                  <dgm:presOf axis="ch desOrSelf" ptType="node node" st="3 1" cnt="1 0"/>
                </dgm:if>
                <dgm:if name="Name61" axis="ch" ptType="node" func="cnt" op="gte" val="7">
                  <dgm:presOf axis="ch desOrSelf" ptType="node node" st="4 1" cnt="1 0"/>
                </dgm:if>
                <dgm:else name="Name62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63"/>
    </dgm:choose>
    <dgm:choose name="Name64">
      <dgm:if name="Name65" axis="ch" ptType="node" func="cnt" op="gte" val="5">
        <dgm:layoutNode name="ellipse5" styleLbl="vennNode1">
          <dgm:varLst>
            <dgm:bulletEnabled val="1"/>
          </dgm:varLst>
          <dgm:alg type="tx"/>
          <dgm:choose name="Name66">
            <dgm:if name="Name67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5 1" cnt="1 0"/>
            </dgm:if>
            <dgm:else name="Name68">
              <dgm:shape xmlns:r="http://schemas.openxmlformats.org/officeDocument/2006/relationships" type="ellipse" r:blip="" zOrderOff="-8">
                <dgm:adjLst/>
              </dgm:shape>
              <dgm:choose name="Name69">
                <dgm:if name="Name70" axis="ch" ptType="node" func="cnt" op="equ" val="5">
                  <dgm:presOf axis="ch desOrSelf" ptType="node node" st="1 1" cnt="1 0"/>
                </dgm:if>
                <dgm:if name="Name71" axis="ch" ptType="node" func="cnt" op="equ" val="6">
                  <dgm:presOf axis="ch desOrSelf" ptType="node node" st="2 1" cnt="1 0"/>
                </dgm:if>
                <dgm:if name="Name72" axis="ch" ptType="node" func="cnt" op="gte" val="7">
                  <dgm:presOf axis="ch desOrSelf" ptType="node node" st="3 1" cnt="1 0"/>
                </dgm:if>
                <dgm:else name="Name7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74"/>
    </dgm:choose>
    <dgm:choose name="Name75">
      <dgm:if name="Name76" axis="ch" ptType="node" func="cnt" op="gte" val="6">
        <dgm:layoutNode name="ellipse6" styleLbl="vennNode1">
          <dgm:varLst>
            <dgm:bulletEnabled val="1"/>
          </dgm:varLst>
          <dgm:alg type="tx"/>
          <dgm:choose name="Name77">
            <dgm:if name="Name7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6 1" cnt="1 0"/>
            </dgm:if>
            <dgm:else name="Name79">
              <dgm:shape xmlns:r="http://schemas.openxmlformats.org/officeDocument/2006/relationships" type="ellipse" r:blip="" zOrderOff="-10">
                <dgm:adjLst/>
              </dgm:shape>
              <dgm:choose name="Name80">
                <dgm:if name="Name81" axis="ch" ptType="node" func="cnt" op="equ" val="6">
                  <dgm:presOf axis="ch desOrSelf" ptType="node node" st="1 1" cnt="1 0"/>
                </dgm:if>
                <dgm:if name="Name82" axis="ch" ptType="node" func="cnt" op="gte" val="7">
                  <dgm:presOf axis="ch desOrSelf" ptType="node node" st="2 1" cnt="1 0"/>
                </dgm:if>
                <dgm:else name="Name8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84"/>
    </dgm:choose>
    <dgm:choose name="Name85">
      <dgm:if name="Name86" axis="ch" ptType="node" func="cnt" op="gte" val="7">
        <dgm:layoutNode name="ellipse7" styleLbl="vennNode1">
          <dgm:varLst>
            <dgm:bulletEnabled val="1"/>
          </dgm:varLst>
          <dgm:alg type="tx"/>
          <dgm:choose name="Name87">
            <dgm:if name="Name8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7 1" cnt="1 0"/>
            </dgm:if>
            <dgm:else name="Name89">
              <dgm:shape xmlns:r="http://schemas.openxmlformats.org/officeDocument/2006/relationships" type="ellipse" r:blip="" zOrderOff="-12">
                <dgm:adjLst/>
              </dgm:shape>
              <dgm:presOf axis="ch desOrSelf" ptType="node node" st="1 1" cnt="1 0"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9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07624C-10CE-4351-A288-842DAE6E75CE}" type="datetimeFigureOut">
              <a:rPr lang="nb-NO" smtClean="0"/>
              <a:t>26.09.2016</a:t>
            </a:fld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D65D8B-0CD5-4851-B687-8613192CE884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466730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A52DCC-FD35-4DCA-A04E-5F05440D3694}" type="datetimeFigureOut">
              <a:rPr lang="nb-NO" smtClean="0"/>
              <a:t>26.09.2016</a:t>
            </a:fld>
            <a:endParaRPr lang="nb-NO" dirty="0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 dirty="0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67C384-521A-4E91-ADF1-9FEFAD9076EE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88478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67C384-521A-4E91-ADF1-9FEFAD9076EE}" type="slidenum">
              <a:rPr lang="en-GB" noProof="0" smtClean="0"/>
              <a:t>3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3687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Northern 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6" y="0"/>
            <a:ext cx="9140307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431542"/>
            <a:ext cx="7038000" cy="116955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8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</a:t>
            </a:r>
            <a:br>
              <a:rPr lang="en-GB" noProof="0" dirty="0"/>
            </a:br>
            <a:r>
              <a:rPr lang="en-GB" noProof="0" dirty="0"/>
              <a:t>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0000" y="2634417"/>
            <a:ext cx="7038000" cy="230832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15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lick to add subtitle</a:t>
            </a:r>
          </a:p>
        </p:txBody>
      </p:sp>
      <p:sp>
        <p:nvSpPr>
          <p:cNvPr id="10" name="Rektangel 9"/>
          <p:cNvSpPr/>
          <p:nvPr userDrawn="1"/>
        </p:nvSpPr>
        <p:spPr>
          <a:xfrm>
            <a:off x="540000" y="4572572"/>
            <a:ext cx="7056187" cy="3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nb-NO"/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11" name="Plassholder for tekst 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4670395"/>
            <a:ext cx="7038000" cy="1538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Information classification</a:t>
            </a:r>
          </a:p>
        </p:txBody>
      </p:sp>
      <p:sp>
        <p:nvSpPr>
          <p:cNvPr id="12" name="Plassholder for dato 3"/>
          <p:cNvSpPr>
            <a:spLocks noGrp="1"/>
          </p:cNvSpPr>
          <p:nvPr>
            <p:ph type="dt" sz="half" idx="17"/>
          </p:nvPr>
        </p:nvSpPr>
        <p:spPr>
          <a:xfrm>
            <a:off x="540000" y="378366"/>
            <a:ext cx="3852613" cy="15388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fld id="{0F2D59EB-6160-43D8-84AC-CE6A3A68034A}" type="datetime3">
              <a:rPr lang="en-GB" smtClean="0"/>
              <a:pPr/>
              <a:t>26 September, 2016</a:t>
            </a:fld>
            <a:endParaRPr lang="en-GB" dirty="0"/>
          </a:p>
        </p:txBody>
      </p:sp>
      <p:sp>
        <p:nvSpPr>
          <p:cNvPr id="13" name="Plassholder for tekst 7"/>
          <p:cNvSpPr>
            <a:spLocks noGrp="1"/>
          </p:cNvSpPr>
          <p:nvPr>
            <p:ph type="body" sz="quarter" idx="20" hasCustomPrompt="1"/>
          </p:nvPr>
        </p:nvSpPr>
        <p:spPr>
          <a:xfrm>
            <a:off x="539750" y="3221826"/>
            <a:ext cx="7038000" cy="1538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Name </a:t>
            </a:r>
            <a:r>
              <a:rPr lang="en-GB" noProof="0" dirty="0" err="1"/>
              <a:t>lastnam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407630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Northern 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8194"/>
            <a:ext cx="9144000" cy="3595306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0066" y="378366"/>
            <a:ext cx="3024183" cy="153888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000" b="1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hapter</a:t>
            </a:r>
          </a:p>
        </p:txBody>
      </p:sp>
      <p:sp>
        <p:nvSpPr>
          <p:cNvPr id="10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62" y="583343"/>
            <a:ext cx="3024187" cy="153888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lang="nb-NO" sz="1000" b="0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14" name="Tittel 3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/>
          <a:p>
            <a:r>
              <a:rPr lang="en-GB" noProof="0" dirty="0"/>
              <a:t>Click to add</a:t>
            </a:r>
            <a:br>
              <a:rPr lang="en-GB" noProof="0" dirty="0"/>
            </a:br>
            <a:r>
              <a:rPr lang="en-GB" noProof="0" dirty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161323182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Arctic Glow 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8194"/>
            <a:ext cx="9144000" cy="3595306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0066" y="378366"/>
            <a:ext cx="3024183" cy="153888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000" b="1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hapter</a:t>
            </a:r>
          </a:p>
        </p:txBody>
      </p:sp>
      <p:sp>
        <p:nvSpPr>
          <p:cNvPr id="17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62" y="583343"/>
            <a:ext cx="3024187" cy="153888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lang="nb-NO" sz="1000" b="0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pic>
        <p:nvPicPr>
          <p:cNvPr id="19" name="Bild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4" name="Tittel 3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/>
          <a:p>
            <a:r>
              <a:rPr lang="en-GB" noProof="0" dirty="0"/>
              <a:t>Click to add</a:t>
            </a:r>
            <a:br>
              <a:rPr lang="en-GB" noProof="0" dirty="0"/>
            </a:br>
            <a:r>
              <a:rPr lang="en-GB" noProof="0" dirty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23544960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Midnight Sun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8194"/>
            <a:ext cx="9144000" cy="3595306"/>
          </a:xfrm>
          <a:prstGeom prst="rect">
            <a:avLst/>
          </a:prstGeom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0066" y="378366"/>
            <a:ext cx="3024183" cy="153888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000" b="1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hapter</a:t>
            </a:r>
          </a:p>
        </p:txBody>
      </p:sp>
      <p:sp>
        <p:nvSpPr>
          <p:cNvPr id="16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62" y="583343"/>
            <a:ext cx="3024187" cy="153888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lang="nb-NO" sz="1000" b="0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/>
          <a:p>
            <a:r>
              <a:rPr lang="en-GB" noProof="0" dirty="0"/>
              <a:t>Click to add</a:t>
            </a:r>
            <a:br>
              <a:rPr lang="en-GB" noProof="0" dirty="0"/>
            </a:br>
            <a:r>
              <a:rPr lang="en-GB" noProof="0" dirty="0"/>
              <a:t>chapter title</a:t>
            </a:r>
          </a:p>
        </p:txBody>
      </p:sp>
      <p:pic>
        <p:nvPicPr>
          <p:cNvPr id="17" name="Bild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7065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48194"/>
            <a:ext cx="9144000" cy="3595306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19" name="Plassholder for tekst 14"/>
          <p:cNvSpPr>
            <a:spLocks noGrp="1"/>
          </p:cNvSpPr>
          <p:nvPr>
            <p:ph type="body" sz="quarter" idx="16" hasCustomPrompt="1"/>
          </p:nvPr>
        </p:nvSpPr>
        <p:spPr>
          <a:xfrm>
            <a:off x="7776250" y="4392000"/>
            <a:ext cx="828000" cy="432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/>
            </a:lvl1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0066" y="378366"/>
            <a:ext cx="3024183" cy="153888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000" b="1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hapter</a:t>
            </a:r>
          </a:p>
        </p:txBody>
      </p:sp>
      <p:sp>
        <p:nvSpPr>
          <p:cNvPr id="12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62" y="583343"/>
            <a:ext cx="3024187" cy="153888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lang="nb-NO" sz="1000" b="0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sp>
        <p:nvSpPr>
          <p:cNvPr id="17" name="Tittel 3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/>
          <a:p>
            <a:r>
              <a:rPr lang="en-GB" noProof="0" dirty="0"/>
              <a:t>Click to add</a:t>
            </a:r>
            <a:br>
              <a:rPr lang="en-GB" noProof="0" dirty="0"/>
            </a:br>
            <a:r>
              <a:rPr lang="en-GB" noProof="0" dirty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131336963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48194"/>
            <a:ext cx="9144000" cy="3595306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19" name="Plassholder for tekst 14"/>
          <p:cNvSpPr>
            <a:spLocks noGrp="1"/>
          </p:cNvSpPr>
          <p:nvPr>
            <p:ph type="body" sz="quarter" idx="16" hasCustomPrompt="1"/>
          </p:nvPr>
        </p:nvSpPr>
        <p:spPr>
          <a:xfrm>
            <a:off x="7776250" y="4392000"/>
            <a:ext cx="828000" cy="432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/>
            </a:lvl1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0066" y="378366"/>
            <a:ext cx="3024183" cy="153888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000" b="1" cap="all" baseline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hapter</a:t>
            </a:r>
          </a:p>
        </p:txBody>
      </p:sp>
      <p:sp>
        <p:nvSpPr>
          <p:cNvPr id="10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5580062" y="583343"/>
            <a:ext cx="3024187" cy="153888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None/>
              <a:defRPr lang="nb-NO" sz="1000" b="0" kern="1200" cap="all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sp>
        <p:nvSpPr>
          <p:cNvPr id="11" name="Tittel 3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/>
          <a:p>
            <a:r>
              <a:rPr lang="en-GB" noProof="0" dirty="0"/>
              <a:t>Click to add</a:t>
            </a:r>
            <a:br>
              <a:rPr lang="en-GB" noProof="0" dirty="0"/>
            </a:br>
            <a:r>
              <a:rPr lang="en-GB" noProof="0" dirty="0"/>
              <a:t>chapter title</a:t>
            </a:r>
          </a:p>
        </p:txBody>
      </p:sp>
    </p:spTree>
    <p:extLst>
      <p:ext uri="{BB962C8B-B14F-4D97-AF65-F5344CB8AC3E}">
        <p14:creationId xmlns:p14="http://schemas.microsoft.com/office/powerpoint/2010/main" val="31275023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x quote + picture (Northern 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1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33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1548194"/>
            <a:ext cx="3024190" cy="30238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234000" tIns="288000" rIns="234000" bIns="360000" anchor="t" anchorCtr="0">
            <a:normAutofit/>
          </a:bodyPr>
          <a:lstStyle>
            <a:lvl1pPr algn="l">
              <a:defRPr sz="17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1878931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x quote + picture (Arctic Glow 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1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33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1548194"/>
            <a:ext cx="3024190" cy="30238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234000" tIns="288000" rIns="234000" bIns="360000" anchor="t" anchorCtr="0">
            <a:normAutofit/>
          </a:bodyPr>
          <a:lstStyle>
            <a:lvl1pPr algn="l">
              <a:defRPr sz="17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3469139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x quote + picture (Midnight Sun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1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33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1548194"/>
            <a:ext cx="3024190" cy="30238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234000" tIns="288000" rIns="234000" bIns="360000" anchor="t" anchorCtr="0">
            <a:normAutofit/>
          </a:bodyPr>
          <a:lstStyle>
            <a:lvl1pPr algn="l">
              <a:defRPr sz="17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93021864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pictur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1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12" name="Tittel 11"/>
          <p:cNvSpPr>
            <a:spLocks noGrp="1"/>
          </p:cNvSpPr>
          <p:nvPr>
            <p:ph type="title" hasCustomPrompt="1"/>
          </p:nvPr>
        </p:nvSpPr>
        <p:spPr>
          <a:xfrm>
            <a:off x="540000" y="996176"/>
            <a:ext cx="3852614" cy="1575574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1700" b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quote</a:t>
            </a:r>
          </a:p>
        </p:txBody>
      </p:sp>
      <p:sp>
        <p:nvSpPr>
          <p:cNvPr id="4" name="Plassholder for tekst 14"/>
          <p:cNvSpPr>
            <a:spLocks noGrp="1"/>
          </p:cNvSpPr>
          <p:nvPr>
            <p:ph type="body" sz="quarter" idx="16" hasCustomPrompt="1"/>
          </p:nvPr>
        </p:nvSpPr>
        <p:spPr>
          <a:xfrm>
            <a:off x="7776250" y="4392000"/>
            <a:ext cx="828000" cy="432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/>
            </a:lvl1pPr>
          </a:lstStyle>
          <a:p>
            <a:pPr lvl="0"/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62929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pictur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1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6" name="Tittel 11"/>
          <p:cNvSpPr>
            <a:spLocks noGrp="1"/>
          </p:cNvSpPr>
          <p:nvPr>
            <p:ph type="title" hasCustomPrompt="1"/>
          </p:nvPr>
        </p:nvSpPr>
        <p:spPr>
          <a:xfrm>
            <a:off x="540000" y="996176"/>
            <a:ext cx="3852614" cy="1575574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17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quote</a:t>
            </a:r>
          </a:p>
        </p:txBody>
      </p:sp>
      <p:sp>
        <p:nvSpPr>
          <p:cNvPr id="4" name="Plassholder for tekst 14"/>
          <p:cNvSpPr>
            <a:spLocks noGrp="1"/>
          </p:cNvSpPr>
          <p:nvPr>
            <p:ph type="body" sz="quarter" idx="16" hasCustomPrompt="1"/>
          </p:nvPr>
        </p:nvSpPr>
        <p:spPr>
          <a:xfrm>
            <a:off x="7777094" y="4392283"/>
            <a:ext cx="827156" cy="432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/>
            </a:lvl1pPr>
          </a:lstStyle>
          <a:p>
            <a:pPr lvl="0"/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460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Arctic Glow 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9"/>
            <a:ext cx="9144000" cy="5141422"/>
          </a:xfrm>
          <a:prstGeom prst="rect">
            <a:avLst/>
          </a:prstGeom>
        </p:spPr>
      </p:pic>
      <p:sp>
        <p:nvSpPr>
          <p:cNvPr id="13" name="Rektangel 12"/>
          <p:cNvSpPr/>
          <p:nvPr userDrawn="1"/>
        </p:nvSpPr>
        <p:spPr>
          <a:xfrm>
            <a:off x="540000" y="4572572"/>
            <a:ext cx="7056187" cy="3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nb-NO"/>
          </a:p>
        </p:txBody>
      </p:sp>
      <p:pic>
        <p:nvPicPr>
          <p:cNvPr id="19" name="Bild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12" name="Plassholder for tekst 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4670395"/>
            <a:ext cx="7038000" cy="1538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Information classification</a:t>
            </a:r>
          </a:p>
        </p:txBody>
      </p:sp>
      <p:sp>
        <p:nvSpPr>
          <p:cNvPr id="14" name="Plassholder for dato 3"/>
          <p:cNvSpPr>
            <a:spLocks noGrp="1"/>
          </p:cNvSpPr>
          <p:nvPr>
            <p:ph type="dt" sz="half" idx="17"/>
          </p:nvPr>
        </p:nvSpPr>
        <p:spPr>
          <a:xfrm>
            <a:off x="540000" y="378366"/>
            <a:ext cx="3852613" cy="15388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fld id="{0F2D59EB-6160-43D8-84AC-CE6A3A68034A}" type="datetime3">
              <a:rPr lang="en-GB" smtClean="0"/>
              <a:pPr/>
              <a:t>26 September, 2016</a:t>
            </a:fld>
            <a:endParaRPr lang="en-GB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431542"/>
            <a:ext cx="7038000" cy="116955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8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</a:t>
            </a:r>
            <a:br>
              <a:rPr lang="en-GB" noProof="0" dirty="0"/>
            </a:br>
            <a:r>
              <a:rPr lang="en-GB" noProof="0" dirty="0"/>
              <a:t>add tit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0000" y="2634417"/>
            <a:ext cx="7038000" cy="230832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15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lick to add subtitle</a:t>
            </a:r>
          </a:p>
        </p:txBody>
      </p:sp>
      <p:sp>
        <p:nvSpPr>
          <p:cNvPr id="15" name="Plassholder for tekst 7"/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3221826"/>
            <a:ext cx="7038000" cy="1538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Name </a:t>
            </a:r>
            <a:r>
              <a:rPr lang="en-GB" noProof="0" dirty="0" err="1"/>
              <a:t>lastnam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690318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lassholder for dato 4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001CF8-EE1E-49BE-B293-D95B9011CEB4}" type="datetime3">
              <a:rPr lang="en-GB" smtClean="0"/>
              <a:t>26 September, 2016</a:t>
            </a:fld>
            <a:endParaRPr lang="en-GB" dirty="0"/>
          </a:p>
        </p:txBody>
      </p:sp>
      <p:sp>
        <p:nvSpPr>
          <p:cNvPr id="46" name="Plassholder for bunntekst 4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7" name="Plassholder for lysbildenummer 4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20" hasCustomPrompt="1"/>
          </p:nvPr>
        </p:nvSpPr>
        <p:spPr>
          <a:xfrm>
            <a:off x="3743938" y="378367"/>
            <a:ext cx="4860312" cy="4029508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31141051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ontent Placeholder 2"/>
          <p:cNvSpPr>
            <a:spLocks noGrp="1"/>
          </p:cNvSpPr>
          <p:nvPr>
            <p:ph idx="20" hasCustomPrompt="1"/>
          </p:nvPr>
        </p:nvSpPr>
        <p:spPr>
          <a:xfrm>
            <a:off x="4752000" y="1506584"/>
            <a:ext cx="3852250" cy="2901292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9" name="Plassholder for dato 38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A6B75197-2B95-4D9F-AB0F-A29DAF4427CA}" type="datetime3">
              <a:rPr lang="en-GB" smtClean="0"/>
              <a:t>26 September, 2016</a:t>
            </a:fld>
            <a:endParaRPr lang="en-GB" dirty="0"/>
          </a:p>
        </p:txBody>
      </p:sp>
      <p:sp>
        <p:nvSpPr>
          <p:cNvPr id="40" name="Plassholder for bunntekst 39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1" name="Plassholder for lysbildenummer 4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3" name="Content Placeholder 2"/>
          <p:cNvSpPr>
            <a:spLocks noGrp="1"/>
          </p:cNvSpPr>
          <p:nvPr>
            <p:ph idx="19" hasCustomPrompt="1"/>
          </p:nvPr>
        </p:nvSpPr>
        <p:spPr>
          <a:xfrm>
            <a:off x="539749" y="1506584"/>
            <a:ext cx="3852251" cy="2901292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" name="Tittel 2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3851932" cy="1000274"/>
          </a:xfrm>
        </p:spPr>
        <p:txBody>
          <a:bodyPr/>
          <a:lstStyle/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32804416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lassholder for dato 38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A6B75197-2B95-4D9F-AB0F-A29DAF4427CA}" type="datetime3">
              <a:rPr lang="en-GB" smtClean="0"/>
              <a:t>26 September, 2016</a:t>
            </a:fld>
            <a:endParaRPr lang="en-GB" dirty="0"/>
          </a:p>
        </p:txBody>
      </p:sp>
      <p:sp>
        <p:nvSpPr>
          <p:cNvPr id="40" name="Plassholder for bunntekst 39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1" name="Plassholder for lysbildenummer 4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3" name="Content Placeholder 2"/>
          <p:cNvSpPr>
            <a:spLocks noGrp="1"/>
          </p:cNvSpPr>
          <p:nvPr>
            <p:ph idx="19" hasCustomPrompt="1"/>
          </p:nvPr>
        </p:nvSpPr>
        <p:spPr>
          <a:xfrm>
            <a:off x="539749" y="1707039"/>
            <a:ext cx="2520315" cy="2700835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" name="Tittel 2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3851932" cy="1000274"/>
          </a:xfrm>
        </p:spPr>
        <p:txBody>
          <a:bodyPr/>
          <a:lstStyle/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24" hasCustomPrompt="1"/>
          </p:nvPr>
        </p:nvSpPr>
        <p:spPr>
          <a:xfrm>
            <a:off x="3312255" y="1707039"/>
            <a:ext cx="2520315" cy="2701655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>
          <a:xfrm>
            <a:off x="6084762" y="1707039"/>
            <a:ext cx="2520315" cy="2700836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539748" y="1476208"/>
            <a:ext cx="2520315" cy="230832"/>
          </a:xfrm>
        </p:spPr>
        <p:txBody>
          <a:bodyPr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0" name="Plassholder for tekst 3"/>
          <p:cNvSpPr>
            <a:spLocks noGrp="1"/>
          </p:cNvSpPr>
          <p:nvPr>
            <p:ph type="body" sz="quarter" idx="27" hasCustomPrompt="1"/>
          </p:nvPr>
        </p:nvSpPr>
        <p:spPr>
          <a:xfrm>
            <a:off x="3312255" y="1476208"/>
            <a:ext cx="2520315" cy="230832"/>
          </a:xfrm>
        </p:spPr>
        <p:txBody>
          <a:bodyPr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2" name="Plassholder for tekst 3"/>
          <p:cNvSpPr>
            <a:spLocks noGrp="1"/>
          </p:cNvSpPr>
          <p:nvPr>
            <p:ph type="body" sz="quarter" idx="28" hasCustomPrompt="1"/>
          </p:nvPr>
        </p:nvSpPr>
        <p:spPr>
          <a:xfrm>
            <a:off x="6084762" y="1476208"/>
            <a:ext cx="2520315" cy="230832"/>
          </a:xfrm>
        </p:spPr>
        <p:txBody>
          <a:bodyPr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104013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lassholder for dato 38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A6B75197-2B95-4D9F-AB0F-A29DAF4427CA}" type="datetime3">
              <a:rPr lang="en-GB" smtClean="0"/>
              <a:t>26 September, 2016</a:t>
            </a:fld>
            <a:endParaRPr lang="en-GB" dirty="0"/>
          </a:p>
        </p:txBody>
      </p:sp>
      <p:sp>
        <p:nvSpPr>
          <p:cNvPr id="40" name="Plassholder for bunntekst 39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1" name="Plassholder for lysbildenummer 4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3" name="Content Placeholder 2"/>
          <p:cNvSpPr>
            <a:spLocks noGrp="1"/>
          </p:cNvSpPr>
          <p:nvPr>
            <p:ph idx="19" hasCustomPrompt="1"/>
          </p:nvPr>
        </p:nvSpPr>
        <p:spPr>
          <a:xfrm>
            <a:off x="539749" y="1707040"/>
            <a:ext cx="1836230" cy="2700835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" name="Tittel 2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3851932" cy="1000274"/>
          </a:xfrm>
        </p:spPr>
        <p:txBody>
          <a:bodyPr/>
          <a:lstStyle/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25" hasCustomPrompt="1"/>
          </p:nvPr>
        </p:nvSpPr>
        <p:spPr>
          <a:xfrm>
            <a:off x="6768835" y="1707040"/>
            <a:ext cx="1836230" cy="2700835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26" hasCustomPrompt="1"/>
          </p:nvPr>
        </p:nvSpPr>
        <p:spPr>
          <a:xfrm>
            <a:off x="4692473" y="1707040"/>
            <a:ext cx="1836230" cy="2700835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27" hasCustomPrompt="1"/>
          </p:nvPr>
        </p:nvSpPr>
        <p:spPr>
          <a:xfrm>
            <a:off x="2616111" y="1707040"/>
            <a:ext cx="1836230" cy="2700835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32" name="Plassholder for tekst 3"/>
          <p:cNvSpPr>
            <a:spLocks noGrp="1"/>
          </p:cNvSpPr>
          <p:nvPr>
            <p:ph type="body" sz="quarter" idx="29" hasCustomPrompt="1"/>
          </p:nvPr>
        </p:nvSpPr>
        <p:spPr>
          <a:xfrm>
            <a:off x="2616110" y="1476208"/>
            <a:ext cx="1836231" cy="230832"/>
          </a:xfrm>
        </p:spPr>
        <p:txBody>
          <a:bodyPr wrap="square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3" name="Plassholder for tekst 3"/>
          <p:cNvSpPr>
            <a:spLocks noGrp="1"/>
          </p:cNvSpPr>
          <p:nvPr>
            <p:ph type="body" sz="quarter" idx="30" hasCustomPrompt="1"/>
          </p:nvPr>
        </p:nvSpPr>
        <p:spPr>
          <a:xfrm>
            <a:off x="4692472" y="1476208"/>
            <a:ext cx="1836231" cy="230832"/>
          </a:xfrm>
        </p:spPr>
        <p:txBody>
          <a:bodyPr wrap="square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4" name="Plassholder for tekst 3"/>
          <p:cNvSpPr>
            <a:spLocks noGrp="1"/>
          </p:cNvSpPr>
          <p:nvPr>
            <p:ph type="body" sz="quarter" idx="31" hasCustomPrompt="1"/>
          </p:nvPr>
        </p:nvSpPr>
        <p:spPr>
          <a:xfrm>
            <a:off x="6768834" y="1476208"/>
            <a:ext cx="1836231" cy="230832"/>
          </a:xfrm>
        </p:spPr>
        <p:txBody>
          <a:bodyPr wrap="square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14" name="Plassholder for tekst 3"/>
          <p:cNvSpPr>
            <a:spLocks noGrp="1"/>
          </p:cNvSpPr>
          <p:nvPr>
            <p:ph type="body" sz="quarter" idx="32" hasCustomPrompt="1"/>
          </p:nvPr>
        </p:nvSpPr>
        <p:spPr>
          <a:xfrm>
            <a:off x="539748" y="1476208"/>
            <a:ext cx="1836231" cy="230832"/>
          </a:xfrm>
        </p:spPr>
        <p:txBody>
          <a:bodyPr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5455101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pictur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lassholder for tekst 14"/>
          <p:cNvSpPr txBox="1">
            <a:spLocks/>
          </p:cNvSpPr>
          <p:nvPr userDrawn="1"/>
        </p:nvSpPr>
        <p:spPr>
          <a:xfrm>
            <a:off x="540000" y="4572572"/>
            <a:ext cx="3848400" cy="3600"/>
          </a:xfrm>
          <a:prstGeom prst="rect">
            <a:avLst/>
          </a:prstGeom>
          <a:solidFill>
            <a:srgbClr val="063954"/>
          </a:solidFill>
        </p:spPr>
        <p:txBody>
          <a:bodyPr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52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78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04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30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pic>
        <p:nvPicPr>
          <p:cNvPr id="35" name="Bilde 3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9200" y="4683600"/>
            <a:ext cx="523727" cy="278490"/>
          </a:xfrm>
          <a:prstGeom prst="rect">
            <a:avLst/>
          </a:prstGeom>
        </p:spPr>
      </p:pic>
      <p:sp>
        <p:nvSpPr>
          <p:cNvPr id="7" name="Plassholder for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6B6B6F6-76FC-4022-9A79-995B84392D62}" type="datetime3">
              <a:rPr lang="en-GB" smtClean="0"/>
              <a:t>26 September, 2016</a:t>
            </a:fld>
            <a:endParaRPr lang="en-GB" dirty="0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36" name="Plassholder for lysbildenummer 3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7" name="Plassholder for bilde 12"/>
          <p:cNvSpPr>
            <a:spLocks noGrp="1"/>
          </p:cNvSpPr>
          <p:nvPr>
            <p:ph type="pic" sz="quarter" idx="14" hasCustomPrompt="1"/>
          </p:nvPr>
        </p:nvSpPr>
        <p:spPr>
          <a:xfrm>
            <a:off x="4752594" y="374650"/>
            <a:ext cx="3852471" cy="4190548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3852482" cy="1000274"/>
          </a:xfrm>
        </p:spPr>
        <p:txBody>
          <a:bodyPr/>
          <a:lstStyle/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9" hasCustomPrompt="1"/>
          </p:nvPr>
        </p:nvSpPr>
        <p:spPr>
          <a:xfrm>
            <a:off x="539748" y="1506584"/>
            <a:ext cx="3852482" cy="2901292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18261574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+ pictur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ssholder for tekst 14"/>
          <p:cNvSpPr txBox="1">
            <a:spLocks/>
          </p:cNvSpPr>
          <p:nvPr userDrawn="1"/>
        </p:nvSpPr>
        <p:spPr>
          <a:xfrm>
            <a:off x="4751998" y="4572572"/>
            <a:ext cx="3852000" cy="3600"/>
          </a:xfrm>
          <a:prstGeom prst="rect">
            <a:avLst/>
          </a:prstGeom>
          <a:solidFill>
            <a:srgbClr val="063954"/>
          </a:solidFill>
        </p:spPr>
        <p:txBody>
          <a:bodyPr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52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78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04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30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pic>
        <p:nvPicPr>
          <p:cNvPr id="36" name="Bilde 3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9200" y="4683600"/>
            <a:ext cx="523727" cy="278490"/>
          </a:xfrm>
          <a:prstGeom prst="rect">
            <a:avLst/>
          </a:prstGeom>
        </p:spPr>
      </p:pic>
      <p:sp>
        <p:nvSpPr>
          <p:cNvPr id="2" name="Plassholder for dato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13676BA-F3E3-44A9-9865-C5090AB6B713}" type="datetime3">
              <a:rPr lang="en-GB" smtClean="0"/>
              <a:t>26 September, 2016</a:t>
            </a:fld>
            <a:endParaRPr lang="en-GB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tel 3"/>
          <p:cNvSpPr>
            <a:spLocks noGrp="1"/>
          </p:cNvSpPr>
          <p:nvPr>
            <p:ph type="title" hasCustomPrompt="1"/>
          </p:nvPr>
        </p:nvSpPr>
        <p:spPr>
          <a:xfrm>
            <a:off x="4751998" y="378366"/>
            <a:ext cx="3852000" cy="1000274"/>
          </a:xfrm>
        </p:spPr>
        <p:txBody>
          <a:bodyPr/>
          <a:lstStyle/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  <p:sp>
        <p:nvSpPr>
          <p:cNvPr id="10" name="Plassholder for bilde 12"/>
          <p:cNvSpPr>
            <a:spLocks noGrp="1"/>
          </p:cNvSpPr>
          <p:nvPr>
            <p:ph type="pic" sz="quarter" idx="14" hasCustomPrompt="1"/>
          </p:nvPr>
        </p:nvSpPr>
        <p:spPr>
          <a:xfrm>
            <a:off x="539999" y="367826"/>
            <a:ext cx="3852482" cy="4190548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751747" y="1506584"/>
            <a:ext cx="3861180" cy="2901292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224946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pictur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lassholder for dato 4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FBBBA5-8A4E-48AB-A893-E39604C4ADE7}" type="datetime3">
              <a:rPr lang="en-GB" smtClean="0"/>
              <a:t>26 September, 2016</a:t>
            </a:fld>
            <a:endParaRPr lang="en-GB" dirty="0"/>
          </a:p>
        </p:txBody>
      </p:sp>
      <p:sp>
        <p:nvSpPr>
          <p:cNvPr id="46" name="Plassholder for bunntekst 4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7" name="Plassholder for lysbildenummer 4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8" name="Plassholder for bilde 12"/>
          <p:cNvSpPr>
            <a:spLocks noGrp="1"/>
          </p:cNvSpPr>
          <p:nvPr>
            <p:ph type="pic" sz="quarter" idx="23" hasCustomPrompt="1"/>
          </p:nvPr>
        </p:nvSpPr>
        <p:spPr>
          <a:xfrm>
            <a:off x="539749" y="1548194"/>
            <a:ext cx="4030609" cy="3002254"/>
          </a:xfrm>
          <a:solidFill>
            <a:schemeClr val="bg1">
              <a:lumMod val="50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29" name="Plassholder for bilde 12"/>
          <p:cNvSpPr>
            <a:spLocks noGrp="1"/>
          </p:cNvSpPr>
          <p:nvPr>
            <p:ph type="pic" sz="quarter" idx="24" hasCustomPrompt="1"/>
          </p:nvPr>
        </p:nvSpPr>
        <p:spPr>
          <a:xfrm>
            <a:off x="4570358" y="1548194"/>
            <a:ext cx="2015873" cy="3002255"/>
          </a:xfrm>
          <a:solidFill>
            <a:schemeClr val="bg1">
              <a:lumMod val="65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30" name="Plassholder for bilde 12"/>
          <p:cNvSpPr>
            <a:spLocks noGrp="1"/>
          </p:cNvSpPr>
          <p:nvPr>
            <p:ph type="pic" sz="quarter" idx="25" hasCustomPrompt="1"/>
          </p:nvPr>
        </p:nvSpPr>
        <p:spPr>
          <a:xfrm>
            <a:off x="6588823" y="1548194"/>
            <a:ext cx="2016946" cy="1501388"/>
          </a:xfrm>
          <a:solidFill>
            <a:schemeClr val="bg1">
              <a:lumMod val="75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sp>
        <p:nvSpPr>
          <p:cNvPr id="31" name="Plassholder for bilde 12"/>
          <p:cNvSpPr>
            <a:spLocks noGrp="1"/>
          </p:cNvSpPr>
          <p:nvPr>
            <p:ph type="pic" sz="quarter" idx="26" hasCustomPrompt="1"/>
          </p:nvPr>
        </p:nvSpPr>
        <p:spPr>
          <a:xfrm>
            <a:off x="6588000" y="3048801"/>
            <a:ext cx="2016000" cy="1501388"/>
          </a:xfrm>
          <a:solidFill>
            <a:schemeClr val="bg1">
              <a:lumMod val="85000"/>
            </a:schemeClr>
          </a:solidFill>
        </p:spPr>
        <p:txBody>
          <a:bodyPr tIns="0" anchor="t" anchorCtr="1">
            <a:normAutofit/>
          </a:bodyPr>
          <a:lstStyle>
            <a:lvl1pPr marL="0" indent="0"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button below to add picture</a:t>
            </a:r>
          </a:p>
        </p:txBody>
      </p:sp>
      <p:pic>
        <p:nvPicPr>
          <p:cNvPr id="33" name="Bilde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9200" y="4683600"/>
            <a:ext cx="523727" cy="278490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52022" y="381648"/>
            <a:ext cx="3852101" cy="92333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300"/>
            </a:lvl1pPr>
            <a:lvl2pPr marL="252000" indent="-126000">
              <a:lnSpc>
                <a:spcPts val="1500"/>
              </a:lnSpc>
              <a:buFont typeface="Courier New" panose="02070309020205020404" pitchFamily="49" charset="0"/>
              <a:buChar char="o"/>
              <a:defRPr sz="1100"/>
            </a:lvl2pPr>
            <a:lvl3pPr marL="378000" indent="-126000">
              <a:lnSpc>
                <a:spcPts val="1500"/>
              </a:lnSpc>
              <a:buFont typeface="Arial" panose="020B0604020202020204" pitchFamily="34" charset="0"/>
              <a:buChar char="‒"/>
              <a:defRPr sz="1100"/>
            </a:lvl3pPr>
            <a:lvl4pPr marL="504000" indent="-126000">
              <a:lnSpc>
                <a:spcPts val="1500"/>
              </a:lnSpc>
              <a:buFont typeface="Arial" panose="020B0604020202020204" pitchFamily="34" charset="0"/>
              <a:buChar char="‒"/>
              <a:defRPr sz="1100"/>
            </a:lvl4pPr>
            <a:lvl5pPr marL="630000" indent="-126000">
              <a:lnSpc>
                <a:spcPts val="1500"/>
              </a:lnSpc>
              <a:buFont typeface="Arial" panose="020B0604020202020204" pitchFamily="34" charset="0"/>
              <a:buChar char="‒"/>
              <a:defRPr sz="1100"/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3852482" cy="1000274"/>
          </a:xfrm>
        </p:spPr>
        <p:txBody>
          <a:bodyPr/>
          <a:lstStyle/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14328328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Plassholder for dato 4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ADEB7-BEA4-47D6-9090-69073C875703}" type="datetime3">
              <a:rPr lang="en-GB" smtClean="0"/>
              <a:t>26 September, 2016</a:t>
            </a:fld>
            <a:endParaRPr lang="en-GB" dirty="0"/>
          </a:p>
        </p:txBody>
      </p:sp>
      <p:sp>
        <p:nvSpPr>
          <p:cNvPr id="46" name="Plassholder for bunntekst 4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7" name="Plassholder for lysbildenummer 4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lassholder for tekst 14"/>
          <p:cNvSpPr txBox="1">
            <a:spLocks/>
          </p:cNvSpPr>
          <p:nvPr userDrawn="1"/>
        </p:nvSpPr>
        <p:spPr>
          <a:xfrm>
            <a:off x="540000" y="1548194"/>
            <a:ext cx="8064250" cy="3600"/>
          </a:xfrm>
          <a:prstGeom prst="rect">
            <a:avLst/>
          </a:prstGeom>
          <a:solidFill>
            <a:srgbClr val="063954"/>
          </a:solidFill>
        </p:spPr>
        <p:txBody>
          <a:bodyPr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52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78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04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30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 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52022" y="381648"/>
            <a:ext cx="3852101" cy="92333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300"/>
            </a:lvl1pPr>
            <a:lvl2pPr marL="252000" indent="-126000">
              <a:lnSpc>
                <a:spcPts val="1500"/>
              </a:lnSpc>
              <a:buFont typeface="Courier New" panose="02070309020205020404" pitchFamily="49" charset="0"/>
              <a:buChar char="o"/>
              <a:defRPr sz="1100"/>
            </a:lvl2pPr>
            <a:lvl3pPr marL="378000" indent="-126000">
              <a:lnSpc>
                <a:spcPts val="1500"/>
              </a:lnSpc>
              <a:buFont typeface="Arial" panose="020B0604020202020204" pitchFamily="34" charset="0"/>
              <a:buChar char="‒"/>
              <a:defRPr sz="1100"/>
            </a:lvl3pPr>
            <a:lvl4pPr marL="504000" indent="-126000">
              <a:lnSpc>
                <a:spcPts val="1500"/>
              </a:lnSpc>
              <a:buFont typeface="Arial" panose="020B0604020202020204" pitchFamily="34" charset="0"/>
              <a:buChar char="‒"/>
              <a:defRPr sz="1100"/>
            </a:lvl4pPr>
            <a:lvl5pPr marL="630000" indent="-126000">
              <a:lnSpc>
                <a:spcPts val="1500"/>
              </a:lnSpc>
              <a:buFont typeface="Arial" panose="020B0604020202020204" pitchFamily="34" charset="0"/>
              <a:buChar char="‒"/>
              <a:defRPr sz="1100"/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30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3852482" cy="1000274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  <p:sp>
        <p:nvSpPr>
          <p:cNvPr id="5" name="Plassholder for diagram 4"/>
          <p:cNvSpPr>
            <a:spLocks noGrp="1"/>
          </p:cNvSpPr>
          <p:nvPr>
            <p:ph type="chart" sz="quarter" idx="13" hasCustomPrompt="1"/>
          </p:nvPr>
        </p:nvSpPr>
        <p:spPr>
          <a:xfrm>
            <a:off x="540068" y="1728216"/>
            <a:ext cx="3852482" cy="2696147"/>
          </a:xfrm>
          <a:solidFill>
            <a:schemeClr val="bg1">
              <a:lumMod val="75000"/>
            </a:schemeClr>
          </a:solidFill>
        </p:spPr>
        <p:txBody>
          <a:bodyPr anchor="t" anchorCtr="1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Click button below to add chart</a:t>
            </a:r>
          </a:p>
        </p:txBody>
      </p:sp>
      <p:sp>
        <p:nvSpPr>
          <p:cNvPr id="13" name="Plassholder for diagram 4"/>
          <p:cNvSpPr>
            <a:spLocks noGrp="1"/>
          </p:cNvSpPr>
          <p:nvPr>
            <p:ph type="chart" sz="quarter" idx="14" hasCustomPrompt="1"/>
          </p:nvPr>
        </p:nvSpPr>
        <p:spPr>
          <a:xfrm>
            <a:off x="4752022" y="1728216"/>
            <a:ext cx="3852482" cy="2696147"/>
          </a:xfrm>
          <a:solidFill>
            <a:schemeClr val="bg1">
              <a:lumMod val="75000"/>
            </a:schemeClr>
          </a:solidFill>
        </p:spPr>
        <p:txBody>
          <a:bodyPr anchor="t" anchorCtr="1"/>
          <a:lstStyle>
            <a:lvl1pPr marL="0" indent="0">
              <a:buNone/>
              <a:defRPr baseline="0"/>
            </a:lvl1pPr>
          </a:lstStyle>
          <a:p>
            <a:r>
              <a:rPr lang="en-GB" dirty="0"/>
              <a:t>Click button below to add chart</a:t>
            </a:r>
          </a:p>
        </p:txBody>
      </p:sp>
    </p:spTree>
    <p:extLst>
      <p:ext uri="{BB962C8B-B14F-4D97-AF65-F5344CB8AC3E}">
        <p14:creationId xmlns:p14="http://schemas.microsoft.com/office/powerpoint/2010/main" val="21264803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(Northern 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6" y="0"/>
            <a:ext cx="9140307" cy="5143500"/>
          </a:xfrm>
          <a:prstGeom prst="rect">
            <a:avLst/>
          </a:prstGeom>
        </p:spPr>
      </p:pic>
      <p:pic>
        <p:nvPicPr>
          <p:cNvPr id="3" name="Bild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7123" y="2209006"/>
            <a:ext cx="2889754" cy="72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339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(Arctic Glow 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9"/>
            <a:ext cx="9144000" cy="5141422"/>
          </a:xfrm>
          <a:prstGeom prst="rect">
            <a:avLst/>
          </a:prstGeom>
        </p:spPr>
      </p:pic>
      <p:pic>
        <p:nvPicPr>
          <p:cNvPr id="4" name="Bild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7123" y="2209007"/>
            <a:ext cx="2889754" cy="72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250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Midnight Sun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9"/>
            <a:ext cx="9144000" cy="5141422"/>
          </a:xfrm>
          <a:prstGeom prst="rect">
            <a:avLst/>
          </a:prstGeom>
        </p:spPr>
      </p:pic>
      <p:sp>
        <p:nvSpPr>
          <p:cNvPr id="13" name="Rektangel 12"/>
          <p:cNvSpPr/>
          <p:nvPr userDrawn="1"/>
        </p:nvSpPr>
        <p:spPr>
          <a:xfrm>
            <a:off x="540000" y="4572572"/>
            <a:ext cx="7056187" cy="3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nb-NO"/>
          </a:p>
        </p:txBody>
      </p:sp>
      <p:pic>
        <p:nvPicPr>
          <p:cNvPr id="20" name="Bilde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14" name="Plassholder for tekst 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4670395"/>
            <a:ext cx="7038000" cy="1538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Information classification</a:t>
            </a:r>
          </a:p>
        </p:txBody>
      </p:sp>
      <p:sp>
        <p:nvSpPr>
          <p:cNvPr id="15" name="Plassholder for dato 3"/>
          <p:cNvSpPr>
            <a:spLocks noGrp="1"/>
          </p:cNvSpPr>
          <p:nvPr>
            <p:ph type="dt" sz="half" idx="17"/>
          </p:nvPr>
        </p:nvSpPr>
        <p:spPr>
          <a:xfrm>
            <a:off x="540000" y="378366"/>
            <a:ext cx="3852613" cy="15388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fld id="{0F2D59EB-6160-43D8-84AC-CE6A3A68034A}" type="datetime3">
              <a:rPr lang="en-GB" smtClean="0"/>
              <a:pPr/>
              <a:t>26 September, 2016</a:t>
            </a:fld>
            <a:endParaRPr lang="en-GB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431542"/>
            <a:ext cx="7038000" cy="116955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800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</a:t>
            </a:r>
            <a:br>
              <a:rPr lang="en-GB" noProof="0" dirty="0"/>
            </a:br>
            <a:r>
              <a:rPr lang="en-GB" noProof="0" dirty="0"/>
              <a:t>add tit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0000" y="2634417"/>
            <a:ext cx="7038000" cy="230832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15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Click to add subtitle</a:t>
            </a:r>
          </a:p>
        </p:txBody>
      </p:sp>
      <p:sp>
        <p:nvSpPr>
          <p:cNvPr id="12" name="Plassholder for tekst 7"/>
          <p:cNvSpPr>
            <a:spLocks noGrp="1"/>
          </p:cNvSpPr>
          <p:nvPr>
            <p:ph type="body" sz="quarter" idx="20" hasCustomPrompt="1"/>
          </p:nvPr>
        </p:nvSpPr>
        <p:spPr>
          <a:xfrm>
            <a:off x="539750" y="3221826"/>
            <a:ext cx="7038000" cy="1538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Name </a:t>
            </a:r>
            <a:r>
              <a:rPr lang="en-GB" noProof="0" dirty="0" err="1"/>
              <a:t>lastnam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5750096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(Midnight Sun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9"/>
            <a:ext cx="9144000" cy="5141422"/>
          </a:xfrm>
          <a:prstGeom prst="rect">
            <a:avLst/>
          </a:prstGeom>
        </p:spPr>
      </p:pic>
      <p:pic>
        <p:nvPicPr>
          <p:cNvPr id="4" name="Bild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7123" y="2209006"/>
            <a:ext cx="2889754" cy="72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684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, with contact info (Northern 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6" y="0"/>
            <a:ext cx="9140307" cy="5143500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144" y="2538317"/>
            <a:ext cx="2889754" cy="725487"/>
          </a:xfrm>
          <a:prstGeom prst="rect">
            <a:avLst/>
          </a:prstGeom>
        </p:spPr>
      </p:pic>
      <p:sp>
        <p:nvSpPr>
          <p:cNvPr id="7" name="Plassholder for tekst 5"/>
          <p:cNvSpPr>
            <a:spLocks noGrp="1"/>
          </p:cNvSpPr>
          <p:nvPr>
            <p:ph type="body" sz="quarter" idx="10" hasCustomPrompt="1"/>
          </p:nvPr>
        </p:nvSpPr>
        <p:spPr>
          <a:xfrm>
            <a:off x="6260123" y="2427702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email address</a:t>
            </a:r>
          </a:p>
        </p:txBody>
      </p:sp>
      <p:sp>
        <p:nvSpPr>
          <p:cNvPr id="8" name="Plassholder f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6260123" y="2658534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mobile number</a:t>
            </a:r>
          </a:p>
        </p:txBody>
      </p:sp>
      <p:sp>
        <p:nvSpPr>
          <p:cNvPr id="9" name="Plassholder f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260123" y="2889366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twitter account</a:t>
            </a:r>
          </a:p>
        </p:txBody>
      </p:sp>
      <p:sp>
        <p:nvSpPr>
          <p:cNvPr id="10" name="TekstSylinder 9"/>
          <p:cNvSpPr txBox="1"/>
          <p:nvPr userDrawn="1"/>
        </p:nvSpPr>
        <p:spPr>
          <a:xfrm>
            <a:off x="5584825" y="2466670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EMAIL</a:t>
            </a:r>
            <a:endParaRPr lang="en-GB" sz="1000" dirty="0" err="1">
              <a:solidFill>
                <a:schemeClr val="bg1"/>
              </a:solidFill>
            </a:endParaRPr>
          </a:p>
        </p:txBody>
      </p:sp>
      <p:sp>
        <p:nvSpPr>
          <p:cNvPr id="11" name="TekstSylinder 10"/>
          <p:cNvSpPr txBox="1"/>
          <p:nvPr userDrawn="1"/>
        </p:nvSpPr>
        <p:spPr>
          <a:xfrm>
            <a:off x="5584825" y="2703048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MOBILE</a:t>
            </a:r>
            <a:endParaRPr lang="en-GB" sz="1000" dirty="0" err="1">
              <a:solidFill>
                <a:schemeClr val="bg1"/>
              </a:solidFill>
            </a:endParaRPr>
          </a:p>
        </p:txBody>
      </p:sp>
      <p:sp>
        <p:nvSpPr>
          <p:cNvPr id="12" name="TekstSylinder 11"/>
          <p:cNvSpPr txBox="1"/>
          <p:nvPr userDrawn="1"/>
        </p:nvSpPr>
        <p:spPr>
          <a:xfrm>
            <a:off x="5584825" y="2932392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TWITTER</a:t>
            </a:r>
            <a:endParaRPr lang="en-GB" sz="1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0265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, with contact info (Arctic Glow 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9"/>
            <a:ext cx="9144000" cy="5141422"/>
          </a:xfrm>
          <a:prstGeom prst="rect">
            <a:avLst/>
          </a:prstGeom>
        </p:spPr>
      </p:pic>
      <p:pic>
        <p:nvPicPr>
          <p:cNvPr id="5" name="Bild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144" y="2538317"/>
            <a:ext cx="2889754" cy="725487"/>
          </a:xfrm>
          <a:prstGeom prst="rect">
            <a:avLst/>
          </a:prstGeom>
        </p:spPr>
      </p:pic>
      <p:sp>
        <p:nvSpPr>
          <p:cNvPr id="6" name="Plassholder for tekst 5"/>
          <p:cNvSpPr>
            <a:spLocks noGrp="1"/>
          </p:cNvSpPr>
          <p:nvPr>
            <p:ph type="body" sz="quarter" idx="10" hasCustomPrompt="1"/>
          </p:nvPr>
        </p:nvSpPr>
        <p:spPr>
          <a:xfrm>
            <a:off x="6260123" y="2427702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email address</a:t>
            </a:r>
          </a:p>
        </p:txBody>
      </p:sp>
      <p:sp>
        <p:nvSpPr>
          <p:cNvPr id="8" name="Plassholder f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6260123" y="2658534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mobile number</a:t>
            </a:r>
          </a:p>
        </p:txBody>
      </p:sp>
      <p:sp>
        <p:nvSpPr>
          <p:cNvPr id="9" name="Plassholder f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260123" y="2889366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twitter account</a:t>
            </a:r>
          </a:p>
        </p:txBody>
      </p:sp>
      <p:sp>
        <p:nvSpPr>
          <p:cNvPr id="11" name="TekstSylinder 10"/>
          <p:cNvSpPr txBox="1"/>
          <p:nvPr userDrawn="1"/>
        </p:nvSpPr>
        <p:spPr>
          <a:xfrm>
            <a:off x="5584825" y="2466670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E-POST</a:t>
            </a:r>
            <a:endParaRPr lang="en-GB" sz="1000" dirty="0" err="1">
              <a:solidFill>
                <a:schemeClr val="bg1"/>
              </a:solidFill>
            </a:endParaRPr>
          </a:p>
        </p:txBody>
      </p:sp>
      <p:sp>
        <p:nvSpPr>
          <p:cNvPr id="12" name="TekstSylinder 11"/>
          <p:cNvSpPr txBox="1"/>
          <p:nvPr userDrawn="1"/>
        </p:nvSpPr>
        <p:spPr>
          <a:xfrm>
            <a:off x="5584825" y="2703048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MOBIL</a:t>
            </a:r>
            <a:endParaRPr lang="en-GB" sz="1000" dirty="0" err="1">
              <a:solidFill>
                <a:schemeClr val="bg1"/>
              </a:solidFill>
            </a:endParaRPr>
          </a:p>
        </p:txBody>
      </p:sp>
      <p:sp>
        <p:nvSpPr>
          <p:cNvPr id="13" name="TekstSylinder 12"/>
          <p:cNvSpPr txBox="1"/>
          <p:nvPr userDrawn="1"/>
        </p:nvSpPr>
        <p:spPr>
          <a:xfrm>
            <a:off x="5584825" y="2932392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TWITTER</a:t>
            </a:r>
            <a:endParaRPr lang="en-GB" sz="1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9528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, with contact info (Midnight Sun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9"/>
            <a:ext cx="9144000" cy="5141422"/>
          </a:xfrm>
          <a:prstGeom prst="rect">
            <a:avLst/>
          </a:prstGeom>
        </p:spPr>
      </p:pic>
      <p:pic>
        <p:nvPicPr>
          <p:cNvPr id="5" name="Bild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144" y="2538317"/>
            <a:ext cx="2889754" cy="725487"/>
          </a:xfrm>
          <a:prstGeom prst="rect">
            <a:avLst/>
          </a:prstGeom>
        </p:spPr>
      </p:pic>
      <p:sp>
        <p:nvSpPr>
          <p:cNvPr id="9" name="TekstSylinder 8"/>
          <p:cNvSpPr txBox="1"/>
          <p:nvPr userDrawn="1"/>
        </p:nvSpPr>
        <p:spPr>
          <a:xfrm>
            <a:off x="5584825" y="2466670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E-POST</a:t>
            </a:r>
            <a:endParaRPr lang="en-GB" sz="1000" dirty="0" err="1">
              <a:solidFill>
                <a:schemeClr val="bg1"/>
              </a:solidFill>
            </a:endParaRPr>
          </a:p>
        </p:txBody>
      </p:sp>
      <p:sp>
        <p:nvSpPr>
          <p:cNvPr id="10" name="TekstSylinder 9"/>
          <p:cNvSpPr txBox="1"/>
          <p:nvPr userDrawn="1"/>
        </p:nvSpPr>
        <p:spPr>
          <a:xfrm>
            <a:off x="5584825" y="2703048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MOBIL</a:t>
            </a:r>
            <a:endParaRPr lang="en-GB" sz="1000" dirty="0" err="1">
              <a:solidFill>
                <a:schemeClr val="bg1"/>
              </a:solidFill>
            </a:endParaRPr>
          </a:p>
        </p:txBody>
      </p:sp>
      <p:sp>
        <p:nvSpPr>
          <p:cNvPr id="11" name="TekstSylinder 10"/>
          <p:cNvSpPr txBox="1"/>
          <p:nvPr userDrawn="1"/>
        </p:nvSpPr>
        <p:spPr>
          <a:xfrm>
            <a:off x="5584825" y="2932392"/>
            <a:ext cx="80889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dirty="0">
                <a:solidFill>
                  <a:schemeClr val="bg1"/>
                </a:solidFill>
              </a:rPr>
              <a:t>TWITTER</a:t>
            </a:r>
            <a:endParaRPr lang="en-GB" sz="1000" dirty="0" err="1">
              <a:solidFill>
                <a:schemeClr val="bg1"/>
              </a:solidFill>
            </a:endParaRPr>
          </a:p>
        </p:txBody>
      </p:sp>
      <p:sp>
        <p:nvSpPr>
          <p:cNvPr id="12" name="Plassholder for tekst 5"/>
          <p:cNvSpPr>
            <a:spLocks noGrp="1"/>
          </p:cNvSpPr>
          <p:nvPr>
            <p:ph type="body" sz="quarter" idx="10" hasCustomPrompt="1"/>
          </p:nvPr>
        </p:nvSpPr>
        <p:spPr>
          <a:xfrm>
            <a:off x="6260123" y="2427702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email address</a:t>
            </a:r>
          </a:p>
        </p:txBody>
      </p:sp>
      <p:sp>
        <p:nvSpPr>
          <p:cNvPr id="13" name="Plassholder f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6260123" y="2658534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mobile number</a:t>
            </a:r>
          </a:p>
        </p:txBody>
      </p:sp>
      <p:sp>
        <p:nvSpPr>
          <p:cNvPr id="14" name="Plassholder f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6260123" y="2889366"/>
            <a:ext cx="2348891" cy="2110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add twitter account</a:t>
            </a:r>
          </a:p>
        </p:txBody>
      </p:sp>
    </p:spTree>
    <p:extLst>
      <p:ext uri="{BB962C8B-B14F-4D97-AF65-F5344CB8AC3E}">
        <p14:creationId xmlns:p14="http://schemas.microsoft.com/office/powerpoint/2010/main" val="10025418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7C4129-86BC-47CD-A63D-6037EE1B6F9C}" type="datetime3">
              <a:rPr lang="en-GB" smtClean="0"/>
              <a:t>26 September, 2016</a:t>
            </a:fld>
            <a:endParaRPr lang="en-GB" dirty="0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3852482" cy="1000274"/>
          </a:xfrm>
        </p:spPr>
        <p:txBody>
          <a:bodyPr/>
          <a:lstStyle/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16057419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10942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Northern 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62845"/>
            <a:ext cx="9144000" cy="1080655"/>
          </a:xfrm>
          <a:prstGeom prst="rect">
            <a:avLst/>
          </a:prstGeom>
        </p:spPr>
      </p:pic>
      <p:sp>
        <p:nvSpPr>
          <p:cNvPr id="10" name="Plassholder for tekst 3"/>
          <p:cNvSpPr>
            <a:spLocks noGrp="1"/>
          </p:cNvSpPr>
          <p:nvPr>
            <p:ph type="body" sz="quarter" idx="28" hasCustomPrompt="1"/>
          </p:nvPr>
        </p:nvSpPr>
        <p:spPr>
          <a:xfrm>
            <a:off x="540068" y="1202719"/>
            <a:ext cx="2844354" cy="230832"/>
          </a:xfrm>
        </p:spPr>
        <p:txBody>
          <a:bodyPr wrap="square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agenda header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7" hasCustomPrompt="1"/>
          </p:nvPr>
        </p:nvSpPr>
        <p:spPr>
          <a:xfrm>
            <a:off x="4752022" y="381648"/>
            <a:ext cx="3852101" cy="3495652"/>
          </a:xfrm>
        </p:spPr>
        <p:txBody>
          <a:bodyPr/>
          <a:lstStyle>
            <a:lvl1pPr>
              <a:buClr>
                <a:schemeClr val="accent1"/>
              </a:buClr>
              <a:defRPr baseline="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pic>
        <p:nvPicPr>
          <p:cNvPr id="21" name="Bild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4369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Arctic Glow 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62845"/>
            <a:ext cx="9144000" cy="1080655"/>
          </a:xfrm>
          <a:prstGeom prst="rect">
            <a:avLst/>
          </a:prstGeom>
        </p:spPr>
      </p:pic>
      <p:pic>
        <p:nvPicPr>
          <p:cNvPr id="21" name="Bild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8" name="Plassholder for tekst 3"/>
          <p:cNvSpPr>
            <a:spLocks noGrp="1"/>
          </p:cNvSpPr>
          <p:nvPr>
            <p:ph type="body" sz="quarter" idx="28" hasCustomPrompt="1"/>
          </p:nvPr>
        </p:nvSpPr>
        <p:spPr>
          <a:xfrm>
            <a:off x="540068" y="1202719"/>
            <a:ext cx="2844354" cy="230832"/>
          </a:xfrm>
        </p:spPr>
        <p:txBody>
          <a:bodyPr wrap="square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agenda header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27" hasCustomPrompt="1"/>
          </p:nvPr>
        </p:nvSpPr>
        <p:spPr>
          <a:xfrm>
            <a:off x="4752022" y="381648"/>
            <a:ext cx="3852101" cy="3495652"/>
          </a:xfrm>
        </p:spPr>
        <p:txBody>
          <a:bodyPr/>
          <a:lstStyle>
            <a:lvl1pPr>
              <a:buClr>
                <a:schemeClr val="accent1"/>
              </a:buClr>
              <a:defRPr baseline="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41112365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Midnight Sun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62845"/>
            <a:ext cx="9144000" cy="1080655"/>
          </a:xfrm>
          <a:prstGeom prst="rect">
            <a:avLst/>
          </a:prstGeom>
        </p:spPr>
      </p:pic>
      <p:pic>
        <p:nvPicPr>
          <p:cNvPr id="21" name="Bild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9" name="Plassholder for tekst 3"/>
          <p:cNvSpPr>
            <a:spLocks noGrp="1"/>
          </p:cNvSpPr>
          <p:nvPr>
            <p:ph type="body" sz="quarter" idx="28" hasCustomPrompt="1"/>
          </p:nvPr>
        </p:nvSpPr>
        <p:spPr>
          <a:xfrm>
            <a:off x="540068" y="1202719"/>
            <a:ext cx="2844354" cy="230832"/>
          </a:xfrm>
        </p:spPr>
        <p:txBody>
          <a:bodyPr wrap="square">
            <a:normAutofit/>
          </a:bodyPr>
          <a:lstStyle>
            <a:lvl1pPr marL="0" indent="0">
              <a:buNone/>
              <a:defRPr sz="10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OPTIONAL subheading</a:t>
            </a:r>
          </a:p>
        </p:txBody>
      </p:sp>
      <p:sp>
        <p:nvSpPr>
          <p:cNvPr id="11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agenda header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27" hasCustomPrompt="1"/>
          </p:nvPr>
        </p:nvSpPr>
        <p:spPr>
          <a:xfrm>
            <a:off x="4752022" y="381648"/>
            <a:ext cx="3852101" cy="3495652"/>
          </a:xfrm>
        </p:spPr>
        <p:txBody>
          <a:bodyPr/>
          <a:lstStyle>
            <a:lvl1pPr>
              <a:buClr>
                <a:schemeClr val="accent1"/>
              </a:buClr>
              <a:defRPr baseline="0"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386094263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, alternative (Northern Light 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8194"/>
            <a:ext cx="9144000" cy="3595306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agenda header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27" hasCustomPrompt="1"/>
          </p:nvPr>
        </p:nvSpPr>
        <p:spPr>
          <a:xfrm>
            <a:off x="4752022" y="1992739"/>
            <a:ext cx="3852101" cy="2579261"/>
          </a:xfrm>
        </p:spPr>
        <p:txBody>
          <a:bodyPr/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356359806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, alternative (Arctic Glow 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8194"/>
            <a:ext cx="9144000" cy="3595306"/>
          </a:xfrm>
          <a:prstGeom prst="rect">
            <a:avLst/>
          </a:prstGeom>
        </p:spPr>
      </p:pic>
      <p:pic>
        <p:nvPicPr>
          <p:cNvPr id="19" name="Bild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agenda header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27" hasCustomPrompt="1"/>
          </p:nvPr>
        </p:nvSpPr>
        <p:spPr>
          <a:xfrm>
            <a:off x="4752022" y="1992739"/>
            <a:ext cx="3852101" cy="2579261"/>
          </a:xfrm>
        </p:spPr>
        <p:txBody>
          <a:bodyPr/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331820848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, alternative (Midnight Sun 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48194"/>
            <a:ext cx="9144000" cy="3595306"/>
          </a:xfrm>
          <a:prstGeom prst="rect">
            <a:avLst/>
          </a:prstGeom>
        </p:spPr>
      </p:pic>
      <p:pic>
        <p:nvPicPr>
          <p:cNvPr id="17" name="Bild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94" y="4392000"/>
            <a:ext cx="827156" cy="432283"/>
          </a:xfrm>
          <a:prstGeom prst="rect">
            <a:avLst/>
          </a:prstGeom>
        </p:spPr>
      </p:pic>
      <p:sp>
        <p:nvSpPr>
          <p:cNvPr id="8" name="Tittel 1"/>
          <p:cNvSpPr>
            <a:spLocks noGrp="1"/>
          </p:cNvSpPr>
          <p:nvPr>
            <p:ph type="title" hasCustomPrompt="1"/>
          </p:nvPr>
        </p:nvSpPr>
        <p:spPr>
          <a:xfrm>
            <a:off x="540068" y="378366"/>
            <a:ext cx="2844354" cy="666849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r>
              <a:rPr lang="en-GB" noProof="0" dirty="0"/>
              <a:t>Click to add </a:t>
            </a:r>
            <a:br>
              <a:rPr lang="en-GB" noProof="0" dirty="0"/>
            </a:br>
            <a:r>
              <a:rPr lang="en-GB" noProof="0" dirty="0"/>
              <a:t>agenda header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27" hasCustomPrompt="1"/>
          </p:nvPr>
        </p:nvSpPr>
        <p:spPr>
          <a:xfrm>
            <a:off x="4752022" y="1992739"/>
            <a:ext cx="3852101" cy="2579261"/>
          </a:xfrm>
        </p:spPr>
        <p:txBody>
          <a:bodyPr/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316839817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Plassholder for tekst 14"/>
          <p:cNvSpPr txBox="1">
            <a:spLocks/>
          </p:cNvSpPr>
          <p:nvPr/>
        </p:nvSpPr>
        <p:spPr>
          <a:xfrm>
            <a:off x="540000" y="4572572"/>
            <a:ext cx="8064250" cy="3600"/>
          </a:xfrm>
          <a:prstGeom prst="rect">
            <a:avLst/>
          </a:prstGeom>
          <a:solidFill>
            <a:srgbClr val="063954"/>
          </a:solidFill>
        </p:spPr>
        <p:txBody>
          <a:bodyPr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52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78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04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30000" indent="-126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0068" y="378366"/>
            <a:ext cx="2844354" cy="10002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en-GB" noProof="0" dirty="0"/>
              <a:t>Click to add</a:t>
            </a:r>
            <a:br>
              <a:rPr lang="en-GB" noProof="0" dirty="0"/>
            </a:br>
            <a:r>
              <a:rPr lang="en-GB" noProof="0" dirty="0"/>
              <a:t>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44468" y="378047"/>
            <a:ext cx="4859782" cy="402890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000" y="4862525"/>
            <a:ext cx="367261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">
                <a:solidFill>
                  <a:srgbClr val="698898"/>
                </a:solidFill>
                <a:latin typeface="+mn-lt"/>
              </a:defRPr>
            </a:lvl1pPr>
          </a:lstStyle>
          <a:p>
            <a:fld id="{BE00DEB0-E6FA-4BA2-92E6-DEFAB1F30552}" type="datetime3">
              <a:rPr lang="en-GB" smtClean="0"/>
              <a:t>26 September, 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4765665"/>
            <a:ext cx="3672613" cy="9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" cap="all" baseline="0">
                <a:solidFill>
                  <a:srgbClr val="698898"/>
                </a:solidFill>
                <a:latin typeface="+mn-lt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40000" y="4765664"/>
            <a:ext cx="180000" cy="9233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600">
                <a:solidFill>
                  <a:srgbClr val="698898"/>
                </a:solidFill>
                <a:latin typeface="+mn-lt"/>
              </a:defRPr>
            </a:lvl1pPr>
          </a:lstStyle>
          <a:p>
            <a:fld id="{7766E8B7-50FC-48D4-B5AD-275A23A4E85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5" name="Bilde 74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9200" y="4683600"/>
            <a:ext cx="523727" cy="27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398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8" r:id="rId2"/>
    <p:sldLayoutId id="2147483707" r:id="rId3"/>
    <p:sldLayoutId id="2147483721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672" r:id="rId10"/>
    <p:sldLayoutId id="2147483710" r:id="rId11"/>
    <p:sldLayoutId id="2147483709" r:id="rId12"/>
    <p:sldLayoutId id="2147483711" r:id="rId13"/>
    <p:sldLayoutId id="2147483722" r:id="rId14"/>
    <p:sldLayoutId id="2147483674" r:id="rId15"/>
    <p:sldLayoutId id="2147483715" r:id="rId16"/>
    <p:sldLayoutId id="2147483716" r:id="rId17"/>
    <p:sldLayoutId id="2147483680" r:id="rId18"/>
    <p:sldLayoutId id="2147483712" r:id="rId19"/>
    <p:sldLayoutId id="2147483703" r:id="rId20"/>
    <p:sldLayoutId id="2147483702" r:id="rId21"/>
    <p:sldLayoutId id="2147483719" r:id="rId22"/>
    <p:sldLayoutId id="2147483720" r:id="rId23"/>
    <p:sldLayoutId id="2147483705" r:id="rId24"/>
    <p:sldLayoutId id="2147483706" r:id="rId25"/>
    <p:sldLayoutId id="2147483717" r:id="rId26"/>
    <p:sldLayoutId id="2147483718" r:id="rId27"/>
    <p:sldLayoutId id="2147483693" r:id="rId28"/>
    <p:sldLayoutId id="2147483713" r:id="rId29"/>
    <p:sldLayoutId id="2147483714" r:id="rId30"/>
    <p:sldLayoutId id="2147483725" r:id="rId31"/>
    <p:sldLayoutId id="2147483726" r:id="rId32"/>
    <p:sldLayoutId id="2147483727" r:id="rId33"/>
    <p:sldLayoutId id="2147483666" r:id="rId34"/>
    <p:sldLayoutId id="2147483724" r:id="rId35"/>
  </p:sldLayoutIdLst>
  <p:hf hdr="0" dt="0"/>
  <p:txStyles>
    <p:titleStyle>
      <a:lvl1pPr algn="l" defTabSz="685800" rtl="0" eaLnBrk="1" latinLnBrk="0" hangingPunct="1">
        <a:lnSpc>
          <a:spcPct val="110000"/>
        </a:lnSpc>
        <a:spcBef>
          <a:spcPts val="0"/>
        </a:spcBef>
        <a:buNone/>
        <a:defRPr sz="20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26000" indent="-12600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1pPr>
      <a:lvl2pPr marL="252000" indent="-126000" algn="l" defTabSz="685800" rtl="0" eaLnBrk="1" latinLnBrk="0" hangingPunct="1">
        <a:lnSpc>
          <a:spcPct val="110000"/>
        </a:lnSpc>
        <a:spcBef>
          <a:spcPts val="0"/>
        </a:spcBef>
        <a:buFont typeface="Courier New" panose="02070309020205020404" pitchFamily="49" charset="0"/>
        <a:buChar char="o"/>
        <a:defRPr sz="1300" kern="1200">
          <a:solidFill>
            <a:schemeClr val="tx2"/>
          </a:solidFill>
          <a:latin typeface="+mn-lt"/>
          <a:ea typeface="+mn-ea"/>
          <a:cs typeface="+mn-cs"/>
        </a:defRPr>
      </a:lvl2pPr>
      <a:lvl3pPr marL="378000" indent="-12600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+mn-lt"/>
          <a:ea typeface="+mn-ea"/>
          <a:cs typeface="+mn-cs"/>
        </a:defRPr>
      </a:lvl3pPr>
      <a:lvl4pPr marL="504000" indent="-12600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+mn-lt"/>
          <a:ea typeface="+mn-ea"/>
          <a:cs typeface="+mn-cs"/>
        </a:defRPr>
      </a:lvl4pPr>
      <a:lvl5pPr marL="630000" indent="-12600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40" userDrawn="1">
          <p15:clr>
            <a:srgbClr val="F26B43"/>
          </p15:clr>
        </p15:guide>
        <p15:guide id="10" pos="5420" userDrawn="1">
          <p15:clr>
            <a:srgbClr val="F26B43"/>
          </p15:clr>
        </p15:guide>
        <p15:guide id="18" orient="horz" pos="2880" userDrawn="1">
          <p15:clr>
            <a:srgbClr val="F26B43"/>
          </p15:clr>
        </p15:guide>
        <p15:guide id="19" pos="2358" userDrawn="1">
          <p15:clr>
            <a:srgbClr val="F26B43"/>
          </p15:clr>
        </p15:guide>
        <p15:guide id="20" pos="2993" userDrawn="1">
          <p15:clr>
            <a:srgbClr val="F26B43"/>
          </p15:clr>
        </p15:guide>
        <p15:guide id="21" pos="2767" userDrawn="1">
          <p15:clr>
            <a:srgbClr val="F26B43"/>
          </p15:clr>
        </p15:guide>
        <p15:guide id="23" orient="horz" pos="2787" userDrawn="1">
          <p15:clr>
            <a:srgbClr val="F26B43"/>
          </p15:clr>
        </p15:guide>
        <p15:guide id="24" orient="horz" pos="9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13" Type="http://schemas.openxmlformats.org/officeDocument/2006/relationships/diagramLayout" Target="../diagrams/layout10.xml"/><Relationship Id="rId3" Type="http://schemas.openxmlformats.org/officeDocument/2006/relationships/diagramLayout" Target="../diagrams/layout8.xml"/><Relationship Id="rId7" Type="http://schemas.openxmlformats.org/officeDocument/2006/relationships/diagramData" Target="../diagrams/data9.xml"/><Relationship Id="rId12" Type="http://schemas.openxmlformats.org/officeDocument/2006/relationships/diagramData" Target="../diagrams/data10.xml"/><Relationship Id="rId2" Type="http://schemas.openxmlformats.org/officeDocument/2006/relationships/diagramData" Target="../diagrams/data8.xml"/><Relationship Id="rId16" Type="http://schemas.microsoft.com/office/2007/relationships/diagramDrawing" Target="../diagrams/drawing10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8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5" Type="http://schemas.openxmlformats.org/officeDocument/2006/relationships/diagramColors" Target="../diagrams/colors10.xml"/><Relationship Id="rId10" Type="http://schemas.openxmlformats.org/officeDocument/2006/relationships/diagramColors" Target="../diagrams/colors9.xml"/><Relationship Id="rId4" Type="http://schemas.openxmlformats.org/officeDocument/2006/relationships/diagramQuickStyle" Target="../diagrams/quickStyle8.xml"/><Relationship Id="rId9" Type="http://schemas.openxmlformats.org/officeDocument/2006/relationships/diagramQuickStyle" Target="../diagrams/quickStyle9.xml"/><Relationship Id="rId14" Type="http://schemas.openxmlformats.org/officeDocument/2006/relationships/diagramQuickStyle" Target="../diagrams/quickStyle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2.xml"/><Relationship Id="rId5" Type="http://schemas.openxmlformats.org/officeDocument/2006/relationships/diagramQuickStyle" Target="../diagrams/quickStyle12.xml"/><Relationship Id="rId4" Type="http://schemas.openxmlformats.org/officeDocument/2006/relationships/diagramLayout" Target="../diagrams/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5.xml"/><Relationship Id="rId3" Type="http://schemas.openxmlformats.org/officeDocument/2006/relationships/diagramLayout" Target="../diagrams/layout14.xml"/><Relationship Id="rId7" Type="http://schemas.openxmlformats.org/officeDocument/2006/relationships/diagramData" Target="../diagrams/data15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4.xml"/><Relationship Id="rId11" Type="http://schemas.microsoft.com/office/2007/relationships/diagramDrawing" Target="../diagrams/drawing15.xml"/><Relationship Id="rId5" Type="http://schemas.openxmlformats.org/officeDocument/2006/relationships/diagramColors" Target="../diagrams/colors14.xml"/><Relationship Id="rId10" Type="http://schemas.openxmlformats.org/officeDocument/2006/relationships/diagramColors" Target="../diagrams/colors15.xml"/><Relationship Id="rId4" Type="http://schemas.openxmlformats.org/officeDocument/2006/relationships/diagramQuickStyle" Target="../diagrams/quickStyle14.xml"/><Relationship Id="rId9" Type="http://schemas.openxmlformats.org/officeDocument/2006/relationships/diagramQuickStyle" Target="../diagrams/quickStyle1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7.xml"/><Relationship Id="rId5" Type="http://schemas.openxmlformats.org/officeDocument/2006/relationships/diagramColors" Target="../diagrams/colors17.xml"/><Relationship Id="rId4" Type="http://schemas.openxmlformats.org/officeDocument/2006/relationships/diagramQuickStyle" Target="../diagrams/quickStyle1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50.jpg"/><Relationship Id="rId4" Type="http://schemas.openxmlformats.org/officeDocument/2006/relationships/image" Target="../media/image49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7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em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2.emf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WASP ASVS for </a:t>
            </a:r>
            <a:r>
              <a:rPr lang="en-US" dirty="0" err="1"/>
              <a:t>NFTaaS</a:t>
            </a:r>
            <a:r>
              <a:rPr lang="en-US" dirty="0"/>
              <a:t> in Financial Services</a:t>
            </a:r>
            <a:r>
              <a:rPr lang="en-GB" dirty="0"/>
              <a:t> 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/>
        <p:txBody>
          <a:bodyPr>
            <a:noAutofit/>
          </a:bodyPr>
          <a:lstStyle/>
          <a:p>
            <a:r>
              <a:rPr lang="en-GB" sz="1300" dirty="0"/>
              <a:t>Oleksandr </a:t>
            </a:r>
            <a:r>
              <a:rPr lang="en-GB" sz="1300" dirty="0" err="1"/>
              <a:t>kazymyrov</a:t>
            </a:r>
            <a:r>
              <a:rPr lang="en-GB" sz="1300" dirty="0"/>
              <a:t>, technical test analyst</a:t>
            </a:r>
          </a:p>
        </p:txBody>
      </p:sp>
    </p:spTree>
    <p:extLst>
      <p:ext uri="{BB962C8B-B14F-4D97-AF65-F5344CB8AC3E}">
        <p14:creationId xmlns:p14="http://schemas.microsoft.com/office/powerpoint/2010/main" val="2277620194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0</a:t>
            </a:fld>
            <a:endParaRPr lang="en-GB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184291555"/>
              </p:ext>
            </p:extLst>
          </p:nvPr>
        </p:nvGraphicFramePr>
        <p:xfrm>
          <a:off x="789381" y="374072"/>
          <a:ext cx="7578765" cy="39831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90151424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9"/>
          </p:nvPr>
        </p:nvPicPr>
        <p:blipFill>
          <a:blip r:embed="rId2"/>
          <a:stretch>
            <a:fillRect/>
          </a:stretch>
        </p:blipFill>
        <p:spPr>
          <a:xfrm>
            <a:off x="1168315" y="1378640"/>
            <a:ext cx="6685509" cy="3049448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NIST SP 800-115: Appendix C - Application Security Testing and Examination</a:t>
            </a:r>
          </a:p>
        </p:txBody>
      </p:sp>
    </p:spTree>
    <p:extLst>
      <p:ext uri="{BB962C8B-B14F-4D97-AF65-F5344CB8AC3E}">
        <p14:creationId xmlns:p14="http://schemas.microsoft.com/office/powerpoint/2010/main" val="1029346086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IST SP 800-115: Appendix E - Table E-2. Online Resources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9"/>
          </p:nvPr>
        </p:nvPicPr>
        <p:blipFill>
          <a:blip r:embed="rId2"/>
          <a:stretch>
            <a:fillRect/>
          </a:stretch>
        </p:blipFill>
        <p:spPr>
          <a:xfrm>
            <a:off x="539750" y="1253838"/>
            <a:ext cx="7992811" cy="3057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513938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5665325"/>
              </p:ext>
            </p:extLst>
          </p:nvPr>
        </p:nvGraphicFramePr>
        <p:xfrm>
          <a:off x="401454" y="325004"/>
          <a:ext cx="8278418" cy="42097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373495"/>
            <a:ext cx="4634727" cy="1000274"/>
          </a:xfrm>
        </p:spPr>
        <p:txBody>
          <a:bodyPr/>
          <a:lstStyle/>
          <a:p>
            <a:r>
              <a:rPr lang="en-US" dirty="0"/>
              <a:t>PCI DSS Penetration Testing - Summary</a:t>
            </a:r>
          </a:p>
        </p:txBody>
      </p:sp>
    </p:spTree>
    <p:extLst>
      <p:ext uri="{BB962C8B-B14F-4D97-AF65-F5344CB8AC3E}">
        <p14:creationId xmlns:p14="http://schemas.microsoft.com/office/powerpoint/2010/main" val="1676409870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4</a:t>
            </a:fld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9"/>
          </p:nvPr>
        </p:nvPicPr>
        <p:blipFill>
          <a:blip r:embed="rId2"/>
          <a:stretch>
            <a:fillRect/>
          </a:stretch>
        </p:blipFill>
        <p:spPr>
          <a:xfrm>
            <a:off x="43787" y="1642287"/>
            <a:ext cx="5537436" cy="197765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ASP Testing Guide</a:t>
            </a:r>
            <a:br>
              <a:rPr lang="en-US" dirty="0"/>
            </a:br>
            <a:r>
              <a:rPr lang="en-US" dirty="0"/>
              <a:t>(from PCI Pentest Guide)</a:t>
            </a:r>
          </a:p>
        </p:txBody>
      </p:sp>
      <p:pic>
        <p:nvPicPr>
          <p:cNvPr id="7" name="Content Placeholder 4"/>
          <p:cNvPicPr>
            <a:picLocks noGrp="1" noChangeAspect="1"/>
          </p:cNvPicPr>
          <p:nvPr>
            <p:ph idx="20"/>
          </p:nvPr>
        </p:nvPicPr>
        <p:blipFill>
          <a:blip r:embed="rId3"/>
          <a:stretch>
            <a:fillRect/>
          </a:stretch>
        </p:blipFill>
        <p:spPr>
          <a:xfrm>
            <a:off x="5581223" y="99791"/>
            <a:ext cx="3306308" cy="4343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91040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42888" y="65946"/>
            <a:ext cx="3851932" cy="558894"/>
          </a:xfrm>
        </p:spPr>
        <p:txBody>
          <a:bodyPr/>
          <a:lstStyle/>
          <a:p>
            <a:r>
              <a:rPr lang="en-US" dirty="0"/>
              <a:t>OWASP Top 10 2013 vs PCI DSS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006694760"/>
              </p:ext>
            </p:extLst>
          </p:nvPr>
        </p:nvGraphicFramePr>
        <p:xfrm>
          <a:off x="242888" y="65946"/>
          <a:ext cx="8405812" cy="46997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59117951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63454" y="87536"/>
            <a:ext cx="7217092" cy="452214"/>
          </a:xfrm>
        </p:spPr>
        <p:txBody>
          <a:bodyPr/>
          <a:lstStyle/>
          <a:p>
            <a:r>
              <a:rPr lang="en-US" dirty="0"/>
              <a:t>OWASP Application Security Verification Standard (ASVS)</a:t>
            </a: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784332350"/>
              </p:ext>
            </p:extLst>
          </p:nvPr>
        </p:nvGraphicFramePr>
        <p:xfrm>
          <a:off x="1325880" y="539750"/>
          <a:ext cx="6294120" cy="42075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75144188"/>
      </p:ext>
    </p:extLst>
  </p:cSld>
  <p:clrMapOvr>
    <a:masterClrMapping/>
  </p:clrMapOvr>
  <p:transition spd="slow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7</a:t>
            </a:fld>
            <a:endParaRPr lang="en-GB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278249776"/>
              </p:ext>
            </p:extLst>
          </p:nvPr>
        </p:nvGraphicFramePr>
        <p:xfrm>
          <a:off x="464820" y="213360"/>
          <a:ext cx="8168640" cy="42866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04189737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8</a:t>
            </a:fld>
            <a:endParaRPr lang="en-GB" dirty="0"/>
          </a:p>
        </p:txBody>
      </p:sp>
      <p:pic>
        <p:nvPicPr>
          <p:cNvPr id="7" name="Picture Placeholder 6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t="47" b="-108"/>
          <a:stretch/>
        </p:blipFill>
        <p:spPr>
          <a:xfrm>
            <a:off x="1064340" y="693419"/>
            <a:ext cx="6395640" cy="3850332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0000" y="294546"/>
            <a:ext cx="7102860" cy="467454"/>
          </a:xfrm>
        </p:spPr>
        <p:txBody>
          <a:bodyPr>
            <a:normAutofit/>
          </a:bodyPr>
          <a:lstStyle/>
          <a:p>
            <a:r>
              <a:rPr lang="en-US" dirty="0"/>
              <a:t>OWAS ASVS Verification Controls (v3.0.1)</a:t>
            </a:r>
          </a:p>
        </p:txBody>
      </p:sp>
    </p:spTree>
    <p:extLst>
      <p:ext uri="{BB962C8B-B14F-4D97-AF65-F5344CB8AC3E}">
        <p14:creationId xmlns:p14="http://schemas.microsoft.com/office/powerpoint/2010/main" val="2230067792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65848" y="264066"/>
            <a:ext cx="7285672" cy="551274"/>
          </a:xfrm>
        </p:spPr>
        <p:txBody>
          <a:bodyPr/>
          <a:lstStyle/>
          <a:p>
            <a:r>
              <a:rPr lang="en-US" dirty="0"/>
              <a:t>OWASP ASVS: Standards Mappings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9"/>
          </p:nvPr>
        </p:nvPicPr>
        <p:blipFill>
          <a:blip r:embed="rId2"/>
          <a:stretch>
            <a:fillRect/>
          </a:stretch>
        </p:blipFill>
        <p:spPr>
          <a:xfrm>
            <a:off x="1734423" y="815340"/>
            <a:ext cx="5071200" cy="364245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731" y="1095186"/>
            <a:ext cx="6998918" cy="336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01869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27"/>
          </p:nvPr>
        </p:nvSpPr>
        <p:spPr>
          <a:xfrm>
            <a:off x="4433455" y="1874975"/>
            <a:ext cx="4565523" cy="1914243"/>
          </a:xfrm>
        </p:spPr>
        <p:txBody>
          <a:bodyPr>
            <a:normAutofit/>
          </a:bodyPr>
          <a:lstStyle/>
          <a:p>
            <a:r>
              <a:rPr lang="en-US" sz="2000" dirty="0"/>
              <a:t>Chapter I - Brief Introduction </a:t>
            </a:r>
          </a:p>
          <a:p>
            <a:r>
              <a:rPr lang="en-US" sz="2000" dirty="0"/>
              <a:t>Chapter II - Why OWASP ASVS?</a:t>
            </a:r>
          </a:p>
          <a:p>
            <a:r>
              <a:rPr lang="en-US" sz="2000" dirty="0"/>
              <a:t>Chapter III - OWAS ASVS in Practice</a:t>
            </a:r>
          </a:p>
          <a:p>
            <a:r>
              <a:rPr lang="en-US" sz="2000" dirty="0"/>
              <a:t>Chapter IV – Summary</a:t>
            </a:r>
          </a:p>
        </p:txBody>
      </p:sp>
    </p:spTree>
    <p:extLst>
      <p:ext uri="{BB962C8B-B14F-4D97-AF65-F5344CB8AC3E}">
        <p14:creationId xmlns:p14="http://schemas.microsoft.com/office/powerpoint/2010/main" val="1212651270"/>
      </p:ext>
    </p:extLst>
  </p:cSld>
  <p:clrMapOvr>
    <a:masterClrMapping/>
  </p:clrMapOvr>
  <p:transition spd="slow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74756524"/>
              </p:ext>
            </p:extLst>
          </p:nvPr>
        </p:nvGraphicFramePr>
        <p:xfrm>
          <a:off x="2480734" y="287387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556008695"/>
              </p:ext>
            </p:extLst>
          </p:nvPr>
        </p:nvGraphicFramePr>
        <p:xfrm>
          <a:off x="2381674" y="412799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6" name="Title 4"/>
          <p:cNvSpPr txBox="1">
            <a:spLocks/>
          </p:cNvSpPr>
          <p:nvPr/>
        </p:nvSpPr>
        <p:spPr>
          <a:xfrm>
            <a:off x="1298759" y="1422128"/>
            <a:ext cx="1825589" cy="2900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6"/>
                </a:solidFill>
              </a:rPr>
              <a:t>OWASP ASVS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006856797"/>
              </p:ext>
            </p:extLst>
          </p:nvPr>
        </p:nvGraphicFramePr>
        <p:xfrm>
          <a:off x="2820976" y="1712149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8" name="Rectangle 7"/>
          <p:cNvSpPr/>
          <p:nvPr/>
        </p:nvSpPr>
        <p:spPr>
          <a:xfrm>
            <a:off x="6963225" y="3877312"/>
            <a:ext cx="17836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dirty="0">
                <a:solidFill>
                  <a:schemeClr val="accent5"/>
                </a:solidFill>
              </a:rPr>
              <a:t>OWASP Top 10</a:t>
            </a:r>
          </a:p>
        </p:txBody>
      </p:sp>
      <p:sp>
        <p:nvSpPr>
          <p:cNvPr id="9" name="Rectangle 8"/>
          <p:cNvSpPr/>
          <p:nvPr/>
        </p:nvSpPr>
        <p:spPr>
          <a:xfrm>
            <a:off x="2383368" y="3398126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dirty="0">
                <a:solidFill>
                  <a:schemeClr val="accent4"/>
                </a:solidFill>
              </a:rPr>
              <a:t>PCI DSS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 flipV="1">
            <a:off x="3516705" y="3496733"/>
            <a:ext cx="682762" cy="86060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014133" y="1586737"/>
            <a:ext cx="618067" cy="113494"/>
          </a:xfrm>
          <a:prstGeom prst="straightConnector1">
            <a:avLst/>
          </a:prstGeom>
          <a:ln w="38100">
            <a:solidFill>
              <a:schemeClr val="accent6"/>
            </a:solidFill>
            <a:tailEnd type="stealth" w="lg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ion Between Requirements</a:t>
            </a:r>
          </a:p>
        </p:txBody>
      </p:sp>
      <p:cxnSp>
        <p:nvCxnSpPr>
          <p:cNvPr id="19" name="Straight Arrow Connector 18"/>
          <p:cNvCxnSpPr/>
          <p:nvPr/>
        </p:nvCxnSpPr>
        <p:spPr>
          <a:xfrm flipH="1" flipV="1">
            <a:off x="7044267" y="3398126"/>
            <a:ext cx="810773" cy="529002"/>
          </a:xfrm>
          <a:prstGeom prst="straightConnector1">
            <a:avLst/>
          </a:prstGeom>
          <a:ln w="38100">
            <a:tailEnd type="stealth" w="lg" len="lg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3320844"/>
      </p:ext>
    </p:extLst>
  </p:cSld>
  <p:clrMapOvr>
    <a:masterClrMapping/>
  </p:clrMapOvr>
  <p:transition spd="slow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276765136"/>
              </p:ext>
            </p:extLst>
          </p:nvPr>
        </p:nvGraphicFramePr>
        <p:xfrm>
          <a:off x="1412297" y="235619"/>
          <a:ext cx="6429376" cy="36598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87237" y="4044180"/>
            <a:ext cx="6164790" cy="510842"/>
          </a:xfrm>
        </p:spPr>
        <p:txBody>
          <a:bodyPr>
            <a:noAutofit/>
          </a:bodyPr>
          <a:lstStyle/>
          <a:p>
            <a:r>
              <a:rPr lang="en-US" sz="2500" dirty="0"/>
              <a:t>Scope for </a:t>
            </a:r>
            <a:r>
              <a:rPr lang="en-US" sz="2500" dirty="0" err="1"/>
              <a:t>pentesting</a:t>
            </a:r>
            <a:r>
              <a:rPr lang="en-US" sz="2500" dirty="0"/>
              <a:t> of web applications</a:t>
            </a:r>
          </a:p>
        </p:txBody>
      </p:sp>
      <p:sp>
        <p:nvSpPr>
          <p:cNvPr id="6" name="Title 4"/>
          <p:cNvSpPr txBox="1">
            <a:spLocks/>
          </p:cNvSpPr>
          <p:nvPr/>
        </p:nvSpPr>
        <p:spPr>
          <a:xfrm>
            <a:off x="6407627" y="2065548"/>
            <a:ext cx="1204580" cy="5108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00" dirty="0"/>
              <a:t>Security</a:t>
            </a:r>
          </a:p>
        </p:txBody>
      </p:sp>
    </p:spTree>
    <p:extLst>
      <p:ext uri="{BB962C8B-B14F-4D97-AF65-F5344CB8AC3E}">
        <p14:creationId xmlns:p14="http://schemas.microsoft.com/office/powerpoint/2010/main" val="4035576385"/>
      </p:ext>
    </p:extLst>
  </p:cSld>
  <p:clrMapOvr>
    <a:masterClrMapping/>
  </p:clrMapOvr>
  <p:transition spd="slow">
    <p:wip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HAPTER II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WAS ASVS in Practice</a:t>
            </a:r>
          </a:p>
        </p:txBody>
      </p:sp>
    </p:spTree>
    <p:extLst>
      <p:ext uri="{BB962C8B-B14F-4D97-AF65-F5344CB8AC3E}">
        <p14:creationId xmlns:p14="http://schemas.microsoft.com/office/powerpoint/2010/main" val="2742064973"/>
      </p:ext>
    </p:extLst>
  </p:cSld>
  <p:clrMapOvr>
    <a:masterClrMapping/>
  </p:clrMapOvr>
  <p:transition spd="slow">
    <p:wip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7762" y="180246"/>
            <a:ext cx="7102860" cy="467454"/>
          </a:xfrm>
        </p:spPr>
        <p:txBody>
          <a:bodyPr>
            <a:normAutofit/>
          </a:bodyPr>
          <a:lstStyle/>
          <a:p>
            <a:r>
              <a:rPr lang="en-US" dirty="0"/>
              <a:t>OWAS ASVS Verification Control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762" y="647700"/>
            <a:ext cx="3871067" cy="389572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9773" y="28857"/>
            <a:ext cx="4274207" cy="4514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581883"/>
      </p:ext>
    </p:extLst>
  </p:cSld>
  <p:clrMapOvr>
    <a:masterClrMapping/>
  </p:clrMapOvr>
  <p:transition spd="slow">
    <p:wip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4</a:t>
            </a:fld>
            <a:endParaRPr lang="en-GB" dirty="0"/>
          </a:p>
        </p:txBody>
      </p:sp>
      <p:pic>
        <p:nvPicPr>
          <p:cNvPr id="7" name="Picture Placeholder 6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t="47" b="-108"/>
          <a:stretch/>
        </p:blipFill>
        <p:spPr>
          <a:xfrm>
            <a:off x="1064340" y="693419"/>
            <a:ext cx="6395640" cy="3850332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0000" y="294546"/>
            <a:ext cx="7102860" cy="467454"/>
          </a:xfrm>
        </p:spPr>
        <p:txBody>
          <a:bodyPr>
            <a:normAutofit/>
          </a:bodyPr>
          <a:lstStyle/>
          <a:p>
            <a:r>
              <a:rPr lang="en-US" dirty="0"/>
              <a:t>OWAS ASVS Verification Controls (v3.0.1)</a:t>
            </a:r>
          </a:p>
        </p:txBody>
      </p:sp>
    </p:spTree>
    <p:extLst>
      <p:ext uri="{BB962C8B-B14F-4D97-AF65-F5344CB8AC3E}">
        <p14:creationId xmlns:p14="http://schemas.microsoft.com/office/powerpoint/2010/main" val="3653485167"/>
      </p:ext>
    </p:extLst>
  </p:cSld>
  <p:clrMapOvr>
    <a:masterClrMapping/>
  </p:clrMapOvr>
  <p:transition spd="slow">
    <p:wip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WASP ASVS Levels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9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43" r="22093" b="11066"/>
          <a:stretch/>
        </p:blipFill>
        <p:spPr>
          <a:xfrm>
            <a:off x="189480" y="913305"/>
            <a:ext cx="4777740" cy="3430901"/>
          </a:xfrm>
        </p:spPr>
      </p:pic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575896815"/>
              </p:ext>
            </p:extLst>
          </p:nvPr>
        </p:nvGraphicFramePr>
        <p:xfrm>
          <a:off x="4202118" y="772292"/>
          <a:ext cx="5585460" cy="38500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itle 4"/>
          <p:cNvSpPr txBox="1">
            <a:spLocks/>
          </p:cNvSpPr>
          <p:nvPr/>
        </p:nvSpPr>
        <p:spPr>
          <a:xfrm>
            <a:off x="7892267" y="923597"/>
            <a:ext cx="1025842" cy="3478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</a:rPr>
              <a:t>Security</a:t>
            </a:r>
          </a:p>
        </p:txBody>
      </p:sp>
      <p:sp>
        <p:nvSpPr>
          <p:cNvPr id="10" name="Title 4"/>
          <p:cNvSpPr txBox="1">
            <a:spLocks/>
          </p:cNvSpPr>
          <p:nvPr/>
        </p:nvSpPr>
        <p:spPr>
          <a:xfrm>
            <a:off x="5218748" y="3795870"/>
            <a:ext cx="244792" cy="3494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FFCCCC"/>
                </a:solidFill>
              </a:rPr>
              <a:t>0</a:t>
            </a:r>
          </a:p>
        </p:txBody>
      </p:sp>
      <p:sp>
        <p:nvSpPr>
          <p:cNvPr id="11" name="Title 4"/>
          <p:cNvSpPr txBox="1">
            <a:spLocks/>
          </p:cNvSpPr>
          <p:nvPr/>
        </p:nvSpPr>
        <p:spPr>
          <a:xfrm>
            <a:off x="6563678" y="3304380"/>
            <a:ext cx="244792" cy="3494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FFC000"/>
                </a:solidFill>
              </a:rPr>
              <a:t>1</a:t>
            </a:r>
          </a:p>
        </p:txBody>
      </p:sp>
      <p:sp>
        <p:nvSpPr>
          <p:cNvPr id="12" name="Title 4"/>
          <p:cNvSpPr txBox="1">
            <a:spLocks/>
          </p:cNvSpPr>
          <p:nvPr/>
        </p:nvSpPr>
        <p:spPr>
          <a:xfrm>
            <a:off x="7149752" y="2537870"/>
            <a:ext cx="244792" cy="3494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B050"/>
                </a:solidFill>
              </a:rPr>
              <a:t>2</a:t>
            </a:r>
          </a:p>
        </p:txBody>
      </p:sp>
      <p:sp>
        <p:nvSpPr>
          <p:cNvPr id="13" name="Title 4"/>
          <p:cNvSpPr txBox="1">
            <a:spLocks/>
          </p:cNvSpPr>
          <p:nvPr/>
        </p:nvSpPr>
        <p:spPr>
          <a:xfrm>
            <a:off x="7409784" y="1612040"/>
            <a:ext cx="244792" cy="3494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0070C0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981093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  <p:bldP spid="10" grpId="0"/>
      <p:bldP spid="11" grpId="0"/>
      <p:bldP spid="12" grpId="0"/>
      <p:bldP spid="13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n Issue With Level Definition</a:t>
            </a: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34151033"/>
              </p:ext>
            </p:extLst>
          </p:nvPr>
        </p:nvGraphicFramePr>
        <p:xfrm>
          <a:off x="720000" y="502701"/>
          <a:ext cx="7758982" cy="43872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21" name="Group 20"/>
          <p:cNvGrpSpPr/>
          <p:nvPr/>
        </p:nvGrpSpPr>
        <p:grpSpPr>
          <a:xfrm flipH="1">
            <a:off x="2928928" y="2748498"/>
            <a:ext cx="432108" cy="505485"/>
            <a:chOff x="2234239" y="1641128"/>
            <a:chExt cx="432108" cy="505485"/>
          </a:xfrm>
        </p:grpSpPr>
        <p:sp>
          <p:nvSpPr>
            <p:cNvPr id="22" name="Right Arrow 21"/>
            <p:cNvSpPr/>
            <p:nvPr/>
          </p:nvSpPr>
          <p:spPr>
            <a:xfrm>
              <a:off x="2234239" y="1641128"/>
              <a:ext cx="432108" cy="505485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3" name="Right Arrow 4"/>
            <p:cNvSpPr txBox="1"/>
            <p:nvPr/>
          </p:nvSpPr>
          <p:spPr>
            <a:xfrm>
              <a:off x="2234239" y="1742225"/>
              <a:ext cx="302476" cy="3032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800" kern="1200" dirty="0"/>
            </a:p>
          </p:txBody>
        </p:sp>
      </p:grpSp>
      <p:grpSp>
        <p:nvGrpSpPr>
          <p:cNvPr id="24" name="Group 23"/>
          <p:cNvGrpSpPr/>
          <p:nvPr/>
        </p:nvGrpSpPr>
        <p:grpSpPr>
          <a:xfrm flipH="1">
            <a:off x="5776037" y="2748498"/>
            <a:ext cx="432108" cy="505485"/>
            <a:chOff x="5095513" y="1615322"/>
            <a:chExt cx="432108" cy="505485"/>
          </a:xfrm>
        </p:grpSpPr>
        <p:sp>
          <p:nvSpPr>
            <p:cNvPr id="25" name="Right Arrow 24"/>
            <p:cNvSpPr/>
            <p:nvPr/>
          </p:nvSpPr>
          <p:spPr>
            <a:xfrm>
              <a:off x="5095513" y="1615322"/>
              <a:ext cx="432108" cy="505485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26" name="Right Arrow 4"/>
            <p:cNvSpPr txBox="1"/>
            <p:nvPr/>
          </p:nvSpPr>
          <p:spPr>
            <a:xfrm>
              <a:off x="5095513" y="1716419"/>
              <a:ext cx="302476" cy="3032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800" kern="1200"/>
            </a:p>
          </p:txBody>
        </p:sp>
      </p:grpSp>
    </p:spTree>
    <p:extLst>
      <p:ext uri="{BB962C8B-B14F-4D97-AF65-F5344CB8AC3E}">
        <p14:creationId xmlns:p14="http://schemas.microsoft.com/office/powerpoint/2010/main" val="37270125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0E0715D8-3FDB-49B0-88D6-19AFF059711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graphicEl>
                                              <a:dgm id="{0E0715D8-3FDB-49B0-88D6-19AFF0597112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graphicEl>
                                              <a:dgm id="{0E0715D8-3FDB-49B0-88D6-19AFF0597112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E938938B-1910-4066-BEB3-8F09EDF4E2C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>
                                            <p:graphicEl>
                                              <a:dgm id="{E938938B-1910-4066-BEB3-8F09EDF4E2C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>
                                            <p:graphicEl>
                                              <a:dgm id="{E938938B-1910-4066-BEB3-8F09EDF4E2C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 uiExpand="1">
        <p:bldSub>
          <a:bldDgm bld="one"/>
        </p:bldSub>
      </p:bldGraphic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41008" y="114552"/>
            <a:ext cx="4062412" cy="425198"/>
          </a:xfrm>
        </p:spPr>
        <p:txBody>
          <a:bodyPr>
            <a:normAutofit/>
          </a:bodyPr>
          <a:lstStyle/>
          <a:p>
            <a:r>
              <a:rPr lang="en-US" dirty="0"/>
              <a:t>Relation Between Project and NFT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027415041"/>
              </p:ext>
            </p:extLst>
          </p:nvPr>
        </p:nvGraphicFramePr>
        <p:xfrm>
          <a:off x="3398520" y="219710"/>
          <a:ext cx="6096000" cy="4283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665751829"/>
              </p:ext>
            </p:extLst>
          </p:nvPr>
        </p:nvGraphicFramePr>
        <p:xfrm>
          <a:off x="384334" y="475614"/>
          <a:ext cx="3395186" cy="40278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1503939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0068" y="378366"/>
            <a:ext cx="5251132" cy="425198"/>
          </a:xfrm>
        </p:spPr>
        <p:txBody>
          <a:bodyPr/>
          <a:lstStyle/>
          <a:p>
            <a:r>
              <a:rPr lang="en-US" dirty="0"/>
              <a:t>Compliance Selection at Financial Services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9"/>
          </p:nvPr>
        </p:nvPicPr>
        <p:blipFill>
          <a:blip r:embed="rId2"/>
          <a:stretch>
            <a:fillRect/>
          </a:stretch>
        </p:blipFill>
        <p:spPr>
          <a:xfrm>
            <a:off x="158750" y="878503"/>
            <a:ext cx="8887359" cy="3431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920922"/>
      </p:ext>
    </p:extLst>
  </p:cSld>
  <p:clrMapOvr>
    <a:masterClrMapping/>
  </p:clrMapOvr>
  <p:transition spd="slow">
    <p:wip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9" name="AutoShape 48"/>
          <p:cNvSpPr>
            <a:spLocks noChangeArrowheads="1"/>
          </p:cNvSpPr>
          <p:nvPr/>
        </p:nvSpPr>
        <p:spPr bwMode="auto">
          <a:xfrm>
            <a:off x="1197825" y="2076535"/>
            <a:ext cx="6530578" cy="225029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587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/>
          <a:lstStyle/>
          <a:p>
            <a:pPr algn="ctr"/>
            <a:endParaRPr lang="en-GB" sz="900" b="1" dirty="0">
              <a:latin typeface="Trebuchet MS" pitchFamily="34" charset="0"/>
            </a:endParaRPr>
          </a:p>
        </p:txBody>
      </p:sp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973809" y="177224"/>
            <a:ext cx="7037784" cy="3190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defTabSz="685800">
              <a:lnSpc>
                <a:spcPct val="110000"/>
              </a:lnSpc>
            </a:pPr>
            <a:r>
              <a:rPr lang="en-US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VRY </a:t>
            </a:r>
            <a:r>
              <a:rPr lang="en-US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INancial</a:t>
            </a:r>
            <a:r>
              <a:rPr lang="en-US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suite Operational Domains in SaaS (FINODS)</a:t>
            </a:r>
            <a:endParaRPr lang="en-GB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Line 3"/>
          <p:cNvSpPr>
            <a:spLocks noChangeShapeType="1"/>
          </p:cNvSpPr>
          <p:nvPr/>
        </p:nvSpPr>
        <p:spPr bwMode="auto">
          <a:xfrm>
            <a:off x="1063191" y="2334566"/>
            <a:ext cx="6858000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nb-NO" sz="1350"/>
          </a:p>
        </p:txBody>
      </p:sp>
      <p:sp>
        <p:nvSpPr>
          <p:cNvPr id="12" name="AutoShape 4"/>
          <p:cNvSpPr>
            <a:spLocks noChangeArrowheads="1"/>
          </p:cNvSpPr>
          <p:nvPr/>
        </p:nvSpPr>
        <p:spPr bwMode="auto">
          <a:xfrm>
            <a:off x="1197825" y="2451247"/>
            <a:ext cx="1836204" cy="597694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587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/>
          <a:lstStyle/>
          <a:p>
            <a:endParaRPr lang="en-GB" sz="900" b="1">
              <a:latin typeface="Trebuchet MS" pitchFamily="34" charset="0"/>
            </a:endParaRPr>
          </a:p>
        </p:txBody>
      </p:sp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1467856" y="2604838"/>
            <a:ext cx="1404155" cy="288541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 dirty="0">
                <a:latin typeface="Trebuchet MS" pitchFamily="34" charset="0"/>
              </a:rPr>
              <a:t>Card Services</a:t>
            </a:r>
          </a:p>
          <a:p>
            <a:pPr>
              <a:spcBef>
                <a:spcPct val="50000"/>
              </a:spcBef>
            </a:pPr>
            <a:r>
              <a:rPr lang="en-US" sz="750" b="1" dirty="0">
                <a:latin typeface="Trebuchet MS" pitchFamily="34" charset="0"/>
              </a:rPr>
              <a:t>Issuing, Acquiring and Security</a:t>
            </a:r>
          </a:p>
        </p:txBody>
      </p:sp>
      <p:sp>
        <p:nvSpPr>
          <p:cNvPr id="14" name="AutoShape 8"/>
          <p:cNvSpPr>
            <a:spLocks noChangeArrowheads="1"/>
          </p:cNvSpPr>
          <p:nvPr/>
        </p:nvSpPr>
        <p:spPr bwMode="auto">
          <a:xfrm>
            <a:off x="3358066" y="1332059"/>
            <a:ext cx="3471323" cy="396479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587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/>
          <a:lstStyle/>
          <a:p>
            <a:endParaRPr lang="en-GB" sz="900" b="1">
              <a:latin typeface="Trebuchet MS" pitchFamily="34" charset="0"/>
            </a:endParaRPr>
          </a:p>
        </p:txBody>
      </p:sp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3844119" y="1474990"/>
            <a:ext cx="2540794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 dirty="0">
                <a:latin typeface="Trebuchet MS" pitchFamily="34" charset="0"/>
              </a:rPr>
              <a:t>Portal, </a:t>
            </a:r>
            <a:r>
              <a:rPr lang="en-US" sz="750" b="1" dirty="0" err="1">
                <a:latin typeface="Trebuchet MS" pitchFamily="34" charset="0"/>
              </a:rPr>
              <a:t>Internetbank</a:t>
            </a:r>
            <a:r>
              <a:rPr lang="en-US" sz="750" b="1" dirty="0">
                <a:latin typeface="Trebuchet MS" pitchFamily="34" charset="0"/>
              </a:rPr>
              <a:t> and “non card </a:t>
            </a:r>
            <a:r>
              <a:rPr lang="en-US" sz="7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</a:rPr>
              <a:t>clients</a:t>
            </a:r>
            <a:r>
              <a:rPr lang="en-US" sz="750" b="1" dirty="0">
                <a:latin typeface="Trebuchet MS" pitchFamily="34" charset="0"/>
              </a:rPr>
              <a:t>”</a:t>
            </a:r>
          </a:p>
        </p:txBody>
      </p:sp>
      <p:sp>
        <p:nvSpPr>
          <p:cNvPr id="16" name="Text Box 23"/>
          <p:cNvSpPr txBox="1">
            <a:spLocks noChangeArrowheads="1"/>
          </p:cNvSpPr>
          <p:nvPr/>
        </p:nvSpPr>
        <p:spPr bwMode="auto">
          <a:xfrm>
            <a:off x="1974020" y="2089297"/>
            <a:ext cx="4324350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nb-NO" sz="1050" dirty="0"/>
              <a:t>            </a:t>
            </a:r>
            <a:r>
              <a:rPr lang="nb-NO" sz="1050" dirty="0" err="1"/>
              <a:t>WebServices</a:t>
            </a:r>
            <a:r>
              <a:rPr lang="nb-NO" sz="1050" dirty="0"/>
              <a:t> – </a:t>
            </a:r>
            <a:r>
              <a:rPr lang="nb-NO" sz="1050" dirty="0" err="1"/>
              <a:t>load-balancers</a:t>
            </a:r>
            <a:r>
              <a:rPr lang="nb-NO" sz="1050" dirty="0"/>
              <a:t> / MQ</a:t>
            </a:r>
          </a:p>
        </p:txBody>
      </p:sp>
      <p:sp>
        <p:nvSpPr>
          <p:cNvPr id="17" name="Line 24"/>
          <p:cNvSpPr>
            <a:spLocks noChangeShapeType="1"/>
          </p:cNvSpPr>
          <p:nvPr/>
        </p:nvSpPr>
        <p:spPr bwMode="auto">
          <a:xfrm>
            <a:off x="1035807" y="3721644"/>
            <a:ext cx="6858001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nb-NO" sz="1350"/>
          </a:p>
        </p:txBody>
      </p:sp>
      <p:sp>
        <p:nvSpPr>
          <p:cNvPr id="18" name="AutoShape 25"/>
          <p:cNvSpPr>
            <a:spLocks noChangeArrowheads="1"/>
          </p:cNvSpPr>
          <p:nvPr/>
        </p:nvSpPr>
        <p:spPr bwMode="auto">
          <a:xfrm>
            <a:off x="6922257" y="1332059"/>
            <a:ext cx="787003" cy="386954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587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/>
          <a:lstStyle/>
          <a:p>
            <a:endParaRPr lang="en-GB" sz="900" b="1">
              <a:latin typeface="Trebuchet MS" pitchFamily="34" charset="0"/>
            </a:endParaRPr>
          </a:p>
        </p:txBody>
      </p:sp>
      <p:sp>
        <p:nvSpPr>
          <p:cNvPr id="19" name="Text Box 26"/>
          <p:cNvSpPr txBox="1">
            <a:spLocks noChangeArrowheads="1"/>
          </p:cNvSpPr>
          <p:nvPr/>
        </p:nvSpPr>
        <p:spPr bwMode="auto">
          <a:xfrm>
            <a:off x="6977026" y="1391591"/>
            <a:ext cx="594122" cy="230832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>
                <a:latin typeface="Trebuchet MS" pitchFamily="34" charset="0"/>
              </a:rPr>
              <a:t>EDB ESB WS_PROXY</a:t>
            </a:r>
          </a:p>
        </p:txBody>
      </p:sp>
      <p:sp>
        <p:nvSpPr>
          <p:cNvPr id="20" name="AutoShape 29"/>
          <p:cNvSpPr>
            <a:spLocks noChangeArrowheads="1"/>
          </p:cNvSpPr>
          <p:nvPr/>
        </p:nvSpPr>
        <p:spPr bwMode="auto">
          <a:xfrm>
            <a:off x="1197825" y="1336822"/>
            <a:ext cx="1889860" cy="415529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587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/>
          <a:lstStyle/>
          <a:p>
            <a:endParaRPr lang="en-GB" sz="900" b="1">
              <a:latin typeface="Trebuchet MS" pitchFamily="34" charset="0"/>
            </a:endParaRPr>
          </a:p>
        </p:txBody>
      </p:sp>
      <p:sp>
        <p:nvSpPr>
          <p:cNvPr id="21" name="Text Box 30"/>
          <p:cNvSpPr txBox="1">
            <a:spLocks noChangeArrowheads="1"/>
          </p:cNvSpPr>
          <p:nvPr/>
        </p:nvSpPr>
        <p:spPr bwMode="auto">
          <a:xfrm>
            <a:off x="1683879" y="1482469"/>
            <a:ext cx="1026114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 dirty="0">
                <a:latin typeface="Trebuchet MS" pitchFamily="34" charset="0"/>
              </a:rPr>
              <a:t>Card Portal / </a:t>
            </a:r>
            <a:r>
              <a:rPr lang="en-US" sz="7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</a:rPr>
              <a:t>Clients</a:t>
            </a:r>
          </a:p>
        </p:txBody>
      </p:sp>
      <p:sp>
        <p:nvSpPr>
          <p:cNvPr id="22" name="AutoShape 32"/>
          <p:cNvSpPr>
            <a:spLocks noChangeArrowheads="1"/>
          </p:cNvSpPr>
          <p:nvPr/>
        </p:nvSpPr>
        <p:spPr bwMode="auto">
          <a:xfrm>
            <a:off x="3358065" y="2454577"/>
            <a:ext cx="4374486" cy="594122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587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/>
          <a:lstStyle/>
          <a:p>
            <a:endParaRPr lang="en-GB" sz="900" b="1">
              <a:latin typeface="Trebuchet MS" pitchFamily="34" charset="0"/>
            </a:endParaRPr>
          </a:p>
        </p:txBody>
      </p:sp>
      <p:sp>
        <p:nvSpPr>
          <p:cNvPr id="23" name="Text Box 33"/>
          <p:cNvSpPr txBox="1">
            <a:spLocks noChangeArrowheads="1"/>
          </p:cNvSpPr>
          <p:nvPr/>
        </p:nvSpPr>
        <p:spPr bwMode="auto">
          <a:xfrm>
            <a:off x="3628095" y="2616595"/>
            <a:ext cx="2592288" cy="288541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 dirty="0">
                <a:latin typeface="Trebuchet MS" pitchFamily="34" charset="0"/>
              </a:rPr>
              <a:t>Bank Services (non-Card)</a:t>
            </a:r>
          </a:p>
          <a:p>
            <a:pPr>
              <a:spcBef>
                <a:spcPct val="50000"/>
              </a:spcBef>
            </a:pPr>
            <a:r>
              <a:rPr lang="en-US" sz="750" b="1" dirty="0">
                <a:latin typeface="Trebuchet MS" pitchFamily="34" charset="0"/>
              </a:rPr>
              <a:t>Batch, Analysis, Security, Online</a:t>
            </a:r>
          </a:p>
        </p:txBody>
      </p:sp>
      <p:sp>
        <p:nvSpPr>
          <p:cNvPr id="24" name="AutoShape 34"/>
          <p:cNvSpPr>
            <a:spLocks noChangeArrowheads="1"/>
          </p:cNvSpPr>
          <p:nvPr/>
        </p:nvSpPr>
        <p:spPr bwMode="auto">
          <a:xfrm>
            <a:off x="1197825" y="3799034"/>
            <a:ext cx="6559060" cy="329804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587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/>
          <a:lstStyle/>
          <a:p>
            <a:endParaRPr lang="en-GB" sz="900" b="1">
              <a:latin typeface="Trebuchet MS" pitchFamily="34" charset="0"/>
            </a:endParaRPr>
          </a:p>
        </p:txBody>
      </p:sp>
      <p:sp>
        <p:nvSpPr>
          <p:cNvPr id="25" name="Text Box 35"/>
          <p:cNvSpPr txBox="1">
            <a:spLocks noChangeArrowheads="1"/>
          </p:cNvSpPr>
          <p:nvPr/>
        </p:nvSpPr>
        <p:spPr bwMode="auto">
          <a:xfrm>
            <a:off x="3399480" y="3898320"/>
            <a:ext cx="3661172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 dirty="0">
                <a:latin typeface="Trebuchet MS" pitchFamily="34" charset="0"/>
              </a:rPr>
              <a:t>Disk SAN – dedicated SAN's to critical systems</a:t>
            </a:r>
          </a:p>
        </p:txBody>
      </p:sp>
      <p:sp>
        <p:nvSpPr>
          <p:cNvPr id="26" name="Line 36"/>
          <p:cNvSpPr>
            <a:spLocks noChangeShapeType="1"/>
          </p:cNvSpPr>
          <p:nvPr/>
        </p:nvSpPr>
        <p:spPr bwMode="auto">
          <a:xfrm>
            <a:off x="1064382" y="3235869"/>
            <a:ext cx="6858000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nb-NO" sz="1350"/>
          </a:p>
        </p:txBody>
      </p:sp>
      <p:sp>
        <p:nvSpPr>
          <p:cNvPr id="27" name="AutoShape 37"/>
          <p:cNvSpPr>
            <a:spLocks noChangeArrowheads="1"/>
          </p:cNvSpPr>
          <p:nvPr/>
        </p:nvSpPr>
        <p:spPr bwMode="auto">
          <a:xfrm>
            <a:off x="3358066" y="3313259"/>
            <a:ext cx="4374486" cy="329804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587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/>
          <a:lstStyle/>
          <a:p>
            <a:endParaRPr lang="en-GB" sz="900" b="1">
              <a:latin typeface="Trebuchet MS" pitchFamily="34" charset="0"/>
            </a:endParaRPr>
          </a:p>
        </p:txBody>
      </p:sp>
      <p:sp>
        <p:nvSpPr>
          <p:cNvPr id="28" name="Text Box 38"/>
          <p:cNvSpPr txBox="1">
            <a:spLocks noChangeArrowheads="1"/>
          </p:cNvSpPr>
          <p:nvPr/>
        </p:nvSpPr>
        <p:spPr bwMode="auto">
          <a:xfrm>
            <a:off x="3531357" y="3440657"/>
            <a:ext cx="3661172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 dirty="0">
                <a:latin typeface="Trebuchet MS" pitchFamily="34" charset="0"/>
              </a:rPr>
              <a:t>Database servers – serving area C and E</a:t>
            </a:r>
          </a:p>
        </p:txBody>
      </p:sp>
      <p:sp>
        <p:nvSpPr>
          <p:cNvPr id="29" name="Line 43"/>
          <p:cNvSpPr>
            <a:spLocks noChangeShapeType="1"/>
          </p:cNvSpPr>
          <p:nvPr/>
        </p:nvSpPr>
        <p:spPr bwMode="auto">
          <a:xfrm>
            <a:off x="1063191" y="1212997"/>
            <a:ext cx="6858000" cy="0"/>
          </a:xfrm>
          <a:prstGeom prst="line">
            <a:avLst/>
          </a:prstGeom>
          <a:noFill/>
          <a:ln w="76200">
            <a:solidFill>
              <a:srgbClr val="FF33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nb-NO" sz="1350"/>
          </a:p>
        </p:txBody>
      </p:sp>
      <p:sp>
        <p:nvSpPr>
          <p:cNvPr id="30" name="Line 44"/>
          <p:cNvSpPr>
            <a:spLocks noChangeShapeType="1"/>
          </p:cNvSpPr>
          <p:nvPr/>
        </p:nvSpPr>
        <p:spPr bwMode="auto">
          <a:xfrm>
            <a:off x="1063191" y="908197"/>
            <a:ext cx="6858000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nb-NO" sz="1350"/>
          </a:p>
        </p:txBody>
      </p:sp>
      <p:sp>
        <p:nvSpPr>
          <p:cNvPr id="31" name="AutoShape 45"/>
          <p:cNvSpPr>
            <a:spLocks noChangeArrowheads="1"/>
          </p:cNvSpPr>
          <p:nvPr/>
        </p:nvSpPr>
        <p:spPr bwMode="auto">
          <a:xfrm>
            <a:off x="1216782" y="933201"/>
            <a:ext cx="6530578" cy="225028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587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/>
          <a:lstStyle/>
          <a:p>
            <a:endParaRPr lang="en-GB" sz="900" b="1">
              <a:latin typeface="Trebuchet MS" pitchFamily="34" charset="0"/>
            </a:endParaRPr>
          </a:p>
        </p:txBody>
      </p:sp>
      <p:sp>
        <p:nvSpPr>
          <p:cNvPr id="32" name="Text Box 46"/>
          <p:cNvSpPr txBox="1">
            <a:spLocks noChangeArrowheads="1"/>
          </p:cNvSpPr>
          <p:nvPr/>
        </p:nvSpPr>
        <p:spPr bwMode="auto">
          <a:xfrm>
            <a:off x="1298935" y="990127"/>
            <a:ext cx="6261497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750" b="1" dirty="0">
                <a:latin typeface="Trebuchet MS" pitchFamily="34" charset="0"/>
              </a:rPr>
              <a:t>http-servers, MQ, </a:t>
            </a:r>
            <a:r>
              <a:rPr lang="en-US" sz="750" b="1" dirty="0" err="1">
                <a:latin typeface="Trebuchet MS" pitchFamily="34" charset="0"/>
              </a:rPr>
              <a:t>filetransfer</a:t>
            </a:r>
            <a:r>
              <a:rPr lang="en-US" sz="750" b="1" dirty="0">
                <a:latin typeface="Trebuchet MS" pitchFamily="34" charset="0"/>
              </a:rPr>
              <a:t>, </a:t>
            </a:r>
            <a:r>
              <a:rPr lang="en-US" sz="750" b="1" dirty="0" err="1">
                <a:latin typeface="Trebuchet MS" pitchFamily="34" charset="0"/>
              </a:rPr>
              <a:t>SQLproxy</a:t>
            </a:r>
            <a:r>
              <a:rPr lang="en-US" sz="750" b="1" dirty="0">
                <a:latin typeface="Trebuchet MS" pitchFamily="34" charset="0"/>
              </a:rPr>
              <a:t>, Internet Proxy </a:t>
            </a:r>
          </a:p>
        </p:txBody>
      </p:sp>
      <p:sp>
        <p:nvSpPr>
          <p:cNvPr id="33" name="Line 47"/>
          <p:cNvSpPr>
            <a:spLocks noChangeShapeType="1"/>
          </p:cNvSpPr>
          <p:nvPr/>
        </p:nvSpPr>
        <p:spPr bwMode="auto">
          <a:xfrm>
            <a:off x="1082241" y="609351"/>
            <a:ext cx="6858000" cy="0"/>
          </a:xfrm>
          <a:prstGeom prst="line">
            <a:avLst/>
          </a:prstGeom>
          <a:noFill/>
          <a:ln w="76200">
            <a:solidFill>
              <a:srgbClr val="FF33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nb-NO" sz="1350"/>
          </a:p>
        </p:txBody>
      </p:sp>
      <p:sp>
        <p:nvSpPr>
          <p:cNvPr id="34" name="AutoShape 48"/>
          <p:cNvSpPr>
            <a:spLocks noChangeArrowheads="1"/>
          </p:cNvSpPr>
          <p:nvPr/>
        </p:nvSpPr>
        <p:spPr bwMode="auto">
          <a:xfrm>
            <a:off x="1221978" y="656001"/>
            <a:ext cx="6530578" cy="225029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587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/>
          <a:lstStyle/>
          <a:p>
            <a:pPr algn="ctr"/>
            <a:endParaRPr lang="en-GB" sz="900" b="1" dirty="0">
              <a:latin typeface="Trebuchet MS" pitchFamily="34" charset="0"/>
            </a:endParaRPr>
          </a:p>
        </p:txBody>
      </p:sp>
      <p:sp>
        <p:nvSpPr>
          <p:cNvPr id="35" name="Text Box 49"/>
          <p:cNvSpPr txBox="1">
            <a:spLocks noChangeArrowheads="1"/>
          </p:cNvSpPr>
          <p:nvPr/>
        </p:nvSpPr>
        <p:spPr bwMode="auto">
          <a:xfrm>
            <a:off x="1317985" y="717697"/>
            <a:ext cx="6261497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 dirty="0">
                <a:latin typeface="Trebuchet MS" pitchFamily="34" charset="0"/>
              </a:rPr>
              <a:t>                                                                                                  </a:t>
            </a:r>
            <a:r>
              <a:rPr lang="en-US" sz="750" b="1" dirty="0" err="1">
                <a:latin typeface="Trebuchet MS" pitchFamily="34" charset="0"/>
              </a:rPr>
              <a:t>Loadbalancers</a:t>
            </a:r>
            <a:endParaRPr lang="en-US" sz="750" b="1" dirty="0">
              <a:latin typeface="Trebuchet MS" pitchFamily="34" charset="0"/>
            </a:endParaRPr>
          </a:p>
        </p:txBody>
      </p:sp>
      <p:sp>
        <p:nvSpPr>
          <p:cNvPr id="36" name="Line 50"/>
          <p:cNvSpPr>
            <a:spLocks noChangeShapeType="1"/>
          </p:cNvSpPr>
          <p:nvPr/>
        </p:nvSpPr>
        <p:spPr bwMode="auto">
          <a:xfrm>
            <a:off x="6879622" y="4362757"/>
            <a:ext cx="216694" cy="0"/>
          </a:xfrm>
          <a:prstGeom prst="line">
            <a:avLst/>
          </a:prstGeom>
          <a:noFill/>
          <a:ln w="76200">
            <a:solidFill>
              <a:srgbClr val="FF33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nb-NO" sz="1350"/>
          </a:p>
        </p:txBody>
      </p:sp>
      <p:sp>
        <p:nvSpPr>
          <p:cNvPr id="37" name="Text Box 51"/>
          <p:cNvSpPr txBox="1">
            <a:spLocks noChangeArrowheads="1"/>
          </p:cNvSpPr>
          <p:nvPr/>
        </p:nvSpPr>
        <p:spPr bwMode="auto">
          <a:xfrm>
            <a:off x="7112318" y="4309179"/>
            <a:ext cx="896228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 dirty="0">
                <a:latin typeface="Trebuchet MS" pitchFamily="34" charset="0"/>
              </a:rPr>
              <a:t>= Security areas</a:t>
            </a:r>
          </a:p>
        </p:txBody>
      </p:sp>
      <p:sp>
        <p:nvSpPr>
          <p:cNvPr id="38" name="Text Box 52"/>
          <p:cNvSpPr txBox="1">
            <a:spLocks noChangeArrowheads="1"/>
          </p:cNvSpPr>
          <p:nvPr/>
        </p:nvSpPr>
        <p:spPr bwMode="auto">
          <a:xfrm>
            <a:off x="6977026" y="3913335"/>
            <a:ext cx="701278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>
                <a:latin typeface="Trebuchet MS" pitchFamily="34" charset="0"/>
              </a:rPr>
              <a:t>Area A</a:t>
            </a:r>
          </a:p>
        </p:txBody>
      </p:sp>
      <p:sp>
        <p:nvSpPr>
          <p:cNvPr id="39" name="Text Box 53"/>
          <p:cNvSpPr txBox="1">
            <a:spLocks noChangeArrowheads="1"/>
          </p:cNvSpPr>
          <p:nvPr/>
        </p:nvSpPr>
        <p:spPr bwMode="auto">
          <a:xfrm>
            <a:off x="6977026" y="3426369"/>
            <a:ext cx="701278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>
                <a:latin typeface="Trebuchet MS" pitchFamily="34" charset="0"/>
              </a:rPr>
              <a:t>Area B</a:t>
            </a:r>
          </a:p>
        </p:txBody>
      </p:sp>
      <p:sp>
        <p:nvSpPr>
          <p:cNvPr id="40" name="Text Box 54"/>
          <p:cNvSpPr txBox="1">
            <a:spLocks noChangeArrowheads="1"/>
          </p:cNvSpPr>
          <p:nvPr/>
        </p:nvSpPr>
        <p:spPr bwMode="auto">
          <a:xfrm>
            <a:off x="6977026" y="3102519"/>
            <a:ext cx="701278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>
                <a:latin typeface="Trebuchet MS" pitchFamily="34" charset="0"/>
              </a:rPr>
              <a:t>Area C</a:t>
            </a:r>
          </a:p>
        </p:txBody>
      </p:sp>
      <p:sp>
        <p:nvSpPr>
          <p:cNvPr id="41" name="Text Box 55"/>
          <p:cNvSpPr txBox="1">
            <a:spLocks noChangeArrowheads="1"/>
          </p:cNvSpPr>
          <p:nvPr/>
        </p:nvSpPr>
        <p:spPr bwMode="auto">
          <a:xfrm>
            <a:off x="6977026" y="2076201"/>
            <a:ext cx="701278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>
                <a:latin typeface="Trebuchet MS" pitchFamily="34" charset="0"/>
              </a:rPr>
              <a:t>Area D</a:t>
            </a:r>
          </a:p>
        </p:txBody>
      </p:sp>
      <p:sp>
        <p:nvSpPr>
          <p:cNvPr id="42" name="Text Box 56"/>
          <p:cNvSpPr txBox="1">
            <a:spLocks noChangeArrowheads="1"/>
          </p:cNvSpPr>
          <p:nvPr/>
        </p:nvSpPr>
        <p:spPr bwMode="auto">
          <a:xfrm>
            <a:off x="6977026" y="1752351"/>
            <a:ext cx="701278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>
                <a:latin typeface="Trebuchet MS" pitchFamily="34" charset="0"/>
              </a:rPr>
              <a:t>Area E</a:t>
            </a:r>
          </a:p>
        </p:txBody>
      </p:sp>
      <p:sp>
        <p:nvSpPr>
          <p:cNvPr id="43" name="Text Box 57"/>
          <p:cNvSpPr txBox="1">
            <a:spLocks noChangeArrowheads="1"/>
          </p:cNvSpPr>
          <p:nvPr/>
        </p:nvSpPr>
        <p:spPr bwMode="auto">
          <a:xfrm>
            <a:off x="6977026" y="996303"/>
            <a:ext cx="701278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>
                <a:latin typeface="Trebuchet MS" pitchFamily="34" charset="0"/>
              </a:rPr>
              <a:t>Area F</a:t>
            </a:r>
          </a:p>
        </p:txBody>
      </p:sp>
      <p:sp>
        <p:nvSpPr>
          <p:cNvPr id="44" name="Text Box 58"/>
          <p:cNvSpPr txBox="1">
            <a:spLocks noChangeArrowheads="1"/>
          </p:cNvSpPr>
          <p:nvPr/>
        </p:nvSpPr>
        <p:spPr bwMode="auto">
          <a:xfrm>
            <a:off x="6977026" y="726032"/>
            <a:ext cx="701278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>
                <a:latin typeface="Trebuchet MS" pitchFamily="34" charset="0"/>
              </a:rPr>
              <a:t>Area G</a:t>
            </a:r>
          </a:p>
        </p:txBody>
      </p:sp>
      <p:sp>
        <p:nvSpPr>
          <p:cNvPr id="45" name="Line 36"/>
          <p:cNvSpPr>
            <a:spLocks noChangeShapeType="1"/>
          </p:cNvSpPr>
          <p:nvPr/>
        </p:nvSpPr>
        <p:spPr bwMode="auto">
          <a:xfrm>
            <a:off x="1063191" y="2086916"/>
            <a:ext cx="6858000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nb-NO" sz="1350"/>
          </a:p>
        </p:txBody>
      </p:sp>
      <p:sp>
        <p:nvSpPr>
          <p:cNvPr id="46" name="AutoShape 37"/>
          <p:cNvSpPr>
            <a:spLocks noChangeArrowheads="1"/>
          </p:cNvSpPr>
          <p:nvPr/>
        </p:nvSpPr>
        <p:spPr bwMode="auto">
          <a:xfrm>
            <a:off x="1197826" y="3332309"/>
            <a:ext cx="1935644" cy="329804"/>
          </a:xfrm>
          <a:prstGeom prst="roundRect">
            <a:avLst>
              <a:gd name="adj" fmla="val 16667"/>
            </a:avLst>
          </a:prstGeom>
          <a:solidFill>
            <a:srgbClr val="EAEAEA"/>
          </a:solidFill>
          <a:ln w="1587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/>
          <a:lstStyle/>
          <a:p>
            <a:endParaRPr lang="en-GB" sz="900" b="1">
              <a:latin typeface="Trebuchet MS" pitchFamily="34" charset="0"/>
            </a:endParaRPr>
          </a:p>
        </p:txBody>
      </p:sp>
      <p:sp>
        <p:nvSpPr>
          <p:cNvPr id="47" name="Text Box 38"/>
          <p:cNvSpPr txBox="1">
            <a:spLocks noChangeArrowheads="1"/>
          </p:cNvSpPr>
          <p:nvPr/>
        </p:nvSpPr>
        <p:spPr bwMode="auto">
          <a:xfrm>
            <a:off x="1634042" y="3459707"/>
            <a:ext cx="1271804" cy="115416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750" b="1" dirty="0">
                <a:latin typeface="Trebuchet MS" pitchFamily="34" charset="0"/>
              </a:rPr>
              <a:t>Database servers – Cards</a:t>
            </a:r>
          </a:p>
        </p:txBody>
      </p:sp>
      <p:sp>
        <p:nvSpPr>
          <p:cNvPr id="48" name="Up Arrow 47"/>
          <p:cNvSpPr/>
          <p:nvPr/>
        </p:nvSpPr>
        <p:spPr>
          <a:xfrm>
            <a:off x="1634041" y="3742752"/>
            <a:ext cx="899809" cy="591180"/>
          </a:xfrm>
          <a:prstGeom prst="upArrow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r>
              <a:rPr lang="nb-NO" sz="1200" kern="12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PCI</a:t>
            </a:r>
          </a:p>
        </p:txBody>
      </p:sp>
      <p:sp>
        <p:nvSpPr>
          <p:cNvPr id="49" name="Up Arrow 48"/>
          <p:cNvSpPr/>
          <p:nvPr/>
        </p:nvSpPr>
        <p:spPr>
          <a:xfrm>
            <a:off x="5581003" y="3776456"/>
            <a:ext cx="1043939" cy="557476"/>
          </a:xfrm>
          <a:prstGeom prst="upArrow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r>
              <a:rPr lang="nb-NO" sz="1200" kern="12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NON</a:t>
            </a:r>
          </a:p>
          <a:p>
            <a:pPr marL="0" algn="ctr" defTabSz="914400" rtl="0" eaLnBrk="1" latinLnBrk="0" hangingPunct="1"/>
            <a:r>
              <a:rPr lang="nb-NO" sz="1200" kern="120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PCI</a:t>
            </a:r>
          </a:p>
        </p:txBody>
      </p:sp>
      <p:sp>
        <p:nvSpPr>
          <p:cNvPr id="50" name="Line 6"/>
          <p:cNvSpPr>
            <a:spLocks noChangeShapeType="1"/>
          </p:cNvSpPr>
          <p:nvPr/>
        </p:nvSpPr>
        <p:spPr bwMode="auto">
          <a:xfrm>
            <a:off x="3201211" y="1187995"/>
            <a:ext cx="24785" cy="2940843"/>
          </a:xfrm>
          <a:prstGeom prst="line">
            <a:avLst/>
          </a:prstGeom>
          <a:noFill/>
          <a:ln w="76200">
            <a:solidFill>
              <a:srgbClr val="FF33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nb-NO" sz="1350"/>
          </a:p>
        </p:txBody>
      </p:sp>
    </p:spTree>
    <p:extLst>
      <p:ext uri="{BB962C8B-B14F-4D97-AF65-F5344CB8AC3E}">
        <p14:creationId xmlns:p14="http://schemas.microsoft.com/office/powerpoint/2010/main" val="3001058593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hapter 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ief Introduction</a:t>
            </a:r>
          </a:p>
        </p:txBody>
      </p:sp>
    </p:spTree>
    <p:extLst>
      <p:ext uri="{BB962C8B-B14F-4D97-AF65-F5344CB8AC3E}">
        <p14:creationId xmlns:p14="http://schemas.microsoft.com/office/powerpoint/2010/main" val="3284383156"/>
      </p:ext>
    </p:extLst>
  </p:cSld>
  <p:clrMapOvr>
    <a:masterClrMapping/>
  </p:clrMapOvr>
  <p:transition spd="slow">
    <p:wip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8" name="Title 4"/>
          <p:cNvSpPr>
            <a:spLocks noGrp="1"/>
          </p:cNvSpPr>
          <p:nvPr>
            <p:ph type="title"/>
          </p:nvPr>
        </p:nvSpPr>
        <p:spPr>
          <a:xfrm>
            <a:off x="540068" y="378366"/>
            <a:ext cx="4812768" cy="1000274"/>
          </a:xfrm>
        </p:spPr>
        <p:txBody>
          <a:bodyPr>
            <a:normAutofit/>
          </a:bodyPr>
          <a:lstStyle/>
          <a:p>
            <a:r>
              <a:rPr lang="en-US" dirty="0"/>
              <a:t>Authentication in Cardholder Client (CHC) Using LoginService2 (LS2)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531967" y="2406023"/>
            <a:ext cx="1566203" cy="91440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rowser</a:t>
            </a:r>
            <a:endParaRPr lang="nb-NO" dirty="0"/>
          </a:p>
        </p:txBody>
      </p:sp>
      <p:sp>
        <p:nvSpPr>
          <p:cNvPr id="10" name="Rounded Rectangle 9"/>
          <p:cNvSpPr/>
          <p:nvPr/>
        </p:nvSpPr>
        <p:spPr>
          <a:xfrm>
            <a:off x="3618897" y="1299367"/>
            <a:ext cx="1781909" cy="91440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inService2</a:t>
            </a:r>
            <a:endParaRPr lang="nb-NO" dirty="0"/>
          </a:p>
        </p:txBody>
      </p:sp>
      <p:sp>
        <p:nvSpPr>
          <p:cNvPr id="11" name="Rounded Rectangle 10"/>
          <p:cNvSpPr/>
          <p:nvPr/>
        </p:nvSpPr>
        <p:spPr>
          <a:xfrm>
            <a:off x="3618897" y="3320423"/>
            <a:ext cx="1781909" cy="91440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ardholder Client</a:t>
            </a:r>
            <a:endParaRPr lang="nb-NO" dirty="0"/>
          </a:p>
        </p:txBody>
      </p:sp>
      <p:sp>
        <p:nvSpPr>
          <p:cNvPr id="12" name="Rounded Rectangle 11"/>
          <p:cNvSpPr/>
          <p:nvPr/>
        </p:nvSpPr>
        <p:spPr>
          <a:xfrm>
            <a:off x="6038540" y="2406023"/>
            <a:ext cx="1781909" cy="91440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 Service</a:t>
            </a:r>
            <a:endParaRPr lang="nb-NO" dirty="0"/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2039421" y="1496699"/>
            <a:ext cx="1535986" cy="866358"/>
          </a:xfrm>
          <a:prstGeom prst="straightConnector1">
            <a:avLst/>
          </a:prstGeom>
          <a:ln w="38100">
            <a:tailEnd type="stealt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5444296" y="1496699"/>
            <a:ext cx="1639736" cy="866358"/>
          </a:xfrm>
          <a:prstGeom prst="straightConnector1">
            <a:avLst/>
          </a:prstGeom>
          <a:ln w="38100">
            <a:tailEnd type="stealt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H="1" flipV="1">
            <a:off x="5496674" y="1823663"/>
            <a:ext cx="1019103" cy="539394"/>
          </a:xfrm>
          <a:prstGeom prst="straightConnector1">
            <a:avLst/>
          </a:prstGeom>
          <a:ln w="38100">
            <a:tailEnd type="stealt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H="1">
            <a:off x="2619910" y="1811756"/>
            <a:ext cx="935557" cy="515341"/>
          </a:xfrm>
          <a:prstGeom prst="straightConnector1">
            <a:avLst/>
          </a:prstGeom>
          <a:ln w="38100">
            <a:tailEnd type="stealt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2253466" y="3354480"/>
            <a:ext cx="1302001" cy="708949"/>
          </a:xfrm>
          <a:prstGeom prst="straightConnector1">
            <a:avLst/>
          </a:prstGeom>
          <a:ln w="34925">
            <a:tailEnd type="stealt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V="1">
            <a:off x="5444296" y="3416158"/>
            <a:ext cx="1228769" cy="595900"/>
          </a:xfrm>
          <a:prstGeom prst="straightConnector1">
            <a:avLst/>
          </a:prstGeom>
          <a:ln w="34925">
            <a:tailEnd type="stealt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 flipH="1">
            <a:off x="5411982" y="3363389"/>
            <a:ext cx="737101" cy="362279"/>
          </a:xfrm>
          <a:prstGeom prst="straightConnector1">
            <a:avLst/>
          </a:prstGeom>
          <a:ln w="34925">
            <a:tailEnd type="stealt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 flipH="1" flipV="1">
            <a:off x="2763748" y="3363389"/>
            <a:ext cx="734383" cy="392710"/>
          </a:xfrm>
          <a:prstGeom prst="straightConnector1">
            <a:avLst/>
          </a:prstGeom>
          <a:ln w="34925">
            <a:tailEnd type="stealth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45" name="Title 4"/>
          <p:cNvSpPr txBox="1">
            <a:spLocks/>
          </p:cNvSpPr>
          <p:nvPr/>
        </p:nvSpPr>
        <p:spPr>
          <a:xfrm>
            <a:off x="2747275" y="1538953"/>
            <a:ext cx="246242" cy="3094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lnSpcReduction="10000"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3</a:t>
            </a:r>
          </a:p>
        </p:txBody>
      </p:sp>
      <p:sp>
        <p:nvSpPr>
          <p:cNvPr id="46" name="Title 4"/>
          <p:cNvSpPr txBox="1">
            <a:spLocks/>
          </p:cNvSpPr>
          <p:nvPr/>
        </p:nvSpPr>
        <p:spPr>
          <a:xfrm>
            <a:off x="6150077" y="1538953"/>
            <a:ext cx="246242" cy="3094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lnSpcReduction="10000"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4</a:t>
            </a:r>
          </a:p>
        </p:txBody>
      </p:sp>
      <p:sp>
        <p:nvSpPr>
          <p:cNvPr id="47" name="Title 4"/>
          <p:cNvSpPr txBox="1">
            <a:spLocks/>
          </p:cNvSpPr>
          <p:nvPr/>
        </p:nvSpPr>
        <p:spPr>
          <a:xfrm>
            <a:off x="5759983" y="2069426"/>
            <a:ext cx="246242" cy="3094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lnSpcReduction="10000"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5</a:t>
            </a:r>
          </a:p>
        </p:txBody>
      </p:sp>
      <p:sp>
        <p:nvSpPr>
          <p:cNvPr id="48" name="Title 4"/>
          <p:cNvSpPr txBox="1">
            <a:spLocks/>
          </p:cNvSpPr>
          <p:nvPr/>
        </p:nvSpPr>
        <p:spPr>
          <a:xfrm>
            <a:off x="3196074" y="2069426"/>
            <a:ext cx="235496" cy="3094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2500" lnSpcReduction="10000"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6</a:t>
            </a:r>
          </a:p>
        </p:txBody>
      </p:sp>
      <p:sp>
        <p:nvSpPr>
          <p:cNvPr id="50" name="Title 4"/>
          <p:cNvSpPr txBox="1">
            <a:spLocks/>
          </p:cNvSpPr>
          <p:nvPr/>
        </p:nvSpPr>
        <p:spPr>
          <a:xfrm>
            <a:off x="2599361" y="3725668"/>
            <a:ext cx="346259" cy="3094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2500" lnSpcReduction="10000"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1</a:t>
            </a:r>
          </a:p>
        </p:txBody>
      </p:sp>
      <p:sp>
        <p:nvSpPr>
          <p:cNvPr id="54" name="Title 4"/>
          <p:cNvSpPr txBox="1">
            <a:spLocks/>
          </p:cNvSpPr>
          <p:nvPr/>
        </p:nvSpPr>
        <p:spPr>
          <a:xfrm>
            <a:off x="2590618" y="3725668"/>
            <a:ext cx="346259" cy="3094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2500" lnSpcReduction="10000"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7</a:t>
            </a:r>
          </a:p>
        </p:txBody>
      </p:sp>
      <p:sp>
        <p:nvSpPr>
          <p:cNvPr id="56" name="Title 4"/>
          <p:cNvSpPr txBox="1">
            <a:spLocks/>
          </p:cNvSpPr>
          <p:nvPr/>
        </p:nvSpPr>
        <p:spPr>
          <a:xfrm>
            <a:off x="3207811" y="3261414"/>
            <a:ext cx="235496" cy="3094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2500" lnSpcReduction="10000"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57" name="Title 4"/>
          <p:cNvSpPr txBox="1">
            <a:spLocks/>
          </p:cNvSpPr>
          <p:nvPr/>
        </p:nvSpPr>
        <p:spPr>
          <a:xfrm>
            <a:off x="6038540" y="3725668"/>
            <a:ext cx="235496" cy="3094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2500" lnSpcReduction="10000"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8</a:t>
            </a:r>
          </a:p>
        </p:txBody>
      </p:sp>
      <p:sp>
        <p:nvSpPr>
          <p:cNvPr id="58" name="Title 4"/>
          <p:cNvSpPr txBox="1">
            <a:spLocks/>
          </p:cNvSpPr>
          <p:nvPr/>
        </p:nvSpPr>
        <p:spPr>
          <a:xfrm>
            <a:off x="5667720" y="3213547"/>
            <a:ext cx="235496" cy="3094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2500" lnSpcReduction="10000"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9</a:t>
            </a:r>
          </a:p>
        </p:txBody>
      </p:sp>
      <p:sp>
        <p:nvSpPr>
          <p:cNvPr id="59" name="Title 4"/>
          <p:cNvSpPr txBox="1">
            <a:spLocks/>
          </p:cNvSpPr>
          <p:nvPr/>
        </p:nvSpPr>
        <p:spPr>
          <a:xfrm>
            <a:off x="3207811" y="3255633"/>
            <a:ext cx="322634" cy="3094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2500" lnSpcReduction="10000"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3036602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  <p:bldP spid="54" grpId="0"/>
      <p:bldP spid="56" grpId="0"/>
      <p:bldP spid="57" grpId="0"/>
      <p:bldP spid="58" grpId="0"/>
      <p:bldP spid="59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nService2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9"/>
          </p:nvPr>
        </p:nvPicPr>
        <p:blipFill>
          <a:blip r:embed="rId2"/>
          <a:stretch>
            <a:fillRect/>
          </a:stretch>
        </p:blipFill>
        <p:spPr>
          <a:xfrm>
            <a:off x="255732" y="1201905"/>
            <a:ext cx="3935268" cy="283049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8927" y="907473"/>
            <a:ext cx="4401951" cy="3394581"/>
          </a:xfrm>
          <a:prstGeom prst="rect">
            <a:avLst/>
          </a:prstGeom>
        </p:spPr>
      </p:pic>
      <p:sp>
        <p:nvSpPr>
          <p:cNvPr id="11" name="Right Arrow 10"/>
          <p:cNvSpPr/>
          <p:nvPr/>
        </p:nvSpPr>
        <p:spPr>
          <a:xfrm>
            <a:off x="4243613" y="2604763"/>
            <a:ext cx="297873" cy="706582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925351"/>
      </p:ext>
    </p:extLst>
  </p:cSld>
  <p:clrMapOvr>
    <a:masterClrMapping/>
  </p:clrMapOvr>
  <p:transition spd="slow">
    <p:wip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dholder Client</a:t>
            </a:r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9"/>
          </p:nvPr>
        </p:nvPicPr>
        <p:blipFill>
          <a:blip r:embed="rId2"/>
          <a:stretch>
            <a:fillRect/>
          </a:stretch>
        </p:blipFill>
        <p:spPr>
          <a:xfrm>
            <a:off x="3736433" y="241008"/>
            <a:ext cx="5044282" cy="227526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8849" y="2738218"/>
            <a:ext cx="5345151" cy="1471566"/>
          </a:xfrm>
          <a:prstGeom prst="rect">
            <a:avLst/>
          </a:prstGeom>
        </p:spPr>
      </p:pic>
      <p:sp>
        <p:nvSpPr>
          <p:cNvPr id="8" name="Right Arrow 7"/>
          <p:cNvSpPr/>
          <p:nvPr/>
        </p:nvSpPr>
        <p:spPr>
          <a:xfrm rot="5400000">
            <a:off x="6191359" y="2235991"/>
            <a:ext cx="297873" cy="706582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833" y="1515998"/>
            <a:ext cx="2771775" cy="1676400"/>
          </a:xfrm>
          <a:prstGeom prst="rect">
            <a:avLst/>
          </a:prstGeom>
        </p:spPr>
      </p:pic>
      <p:sp>
        <p:nvSpPr>
          <p:cNvPr id="11" name="Right Arrow 10"/>
          <p:cNvSpPr/>
          <p:nvPr/>
        </p:nvSpPr>
        <p:spPr>
          <a:xfrm rot="19903752">
            <a:off x="3136612" y="1243798"/>
            <a:ext cx="507902" cy="706582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237416"/>
      </p:ext>
    </p:extLst>
  </p:cSld>
  <p:clrMapOvr>
    <a:masterClrMapping/>
  </p:clrMapOvr>
  <p:transition spd="slow">
    <p:wip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0000" y="220452"/>
            <a:ext cx="4323762" cy="1000274"/>
          </a:xfrm>
        </p:spPr>
        <p:txBody>
          <a:bodyPr>
            <a:normAutofit/>
          </a:bodyPr>
          <a:lstStyle/>
          <a:p>
            <a:r>
              <a:rPr lang="en-US" dirty="0"/>
              <a:t>General Information on LS2 and CHC</a:t>
            </a:r>
          </a:p>
        </p:txBody>
      </p:sp>
      <p:sp>
        <p:nvSpPr>
          <p:cNvPr id="7" name="Content Placeholder 5"/>
          <p:cNvSpPr txBox="1">
            <a:spLocks/>
          </p:cNvSpPr>
          <p:nvPr/>
        </p:nvSpPr>
        <p:spPr>
          <a:xfrm>
            <a:off x="5147416" y="1863842"/>
            <a:ext cx="3852482" cy="290129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126000" indent="-126000" algn="l" defTabSz="6858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52000" indent="-126000" algn="l" defTabSz="685800" rtl="0" eaLnBrk="1" latinLnBrk="0" hangingPunct="1">
              <a:lnSpc>
                <a:spcPct val="11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78000" indent="-126000" algn="l" defTabSz="6858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04000" indent="-126000" algn="l" defTabSz="6858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630000" indent="-126000" algn="l" defTabSz="6858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779111005"/>
              </p:ext>
            </p:extLst>
          </p:nvPr>
        </p:nvGraphicFramePr>
        <p:xfrm>
          <a:off x="540000" y="720589"/>
          <a:ext cx="7276136" cy="37784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Straight Arrow Connector 9"/>
          <p:cNvCxnSpPr/>
          <p:nvPr/>
        </p:nvCxnSpPr>
        <p:spPr>
          <a:xfrm flipH="1" flipV="1">
            <a:off x="913314" y="4546385"/>
            <a:ext cx="376965" cy="312788"/>
          </a:xfrm>
          <a:prstGeom prst="straightConnector1">
            <a:avLst/>
          </a:prstGeom>
          <a:ln w="38100">
            <a:tailEnd type="stealt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V="1">
            <a:off x="6969304" y="4545209"/>
            <a:ext cx="376965" cy="312788"/>
          </a:xfrm>
          <a:prstGeom prst="straightConnector1">
            <a:avLst/>
          </a:prstGeom>
          <a:ln w="38100">
            <a:tailEnd type="stealth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3" name="Title 4"/>
          <p:cNvSpPr txBox="1">
            <a:spLocks/>
          </p:cNvSpPr>
          <p:nvPr/>
        </p:nvSpPr>
        <p:spPr>
          <a:xfrm>
            <a:off x="1406434" y="4678921"/>
            <a:ext cx="2194658" cy="34426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85000" lnSpcReduction="10000"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3"/>
                </a:solidFill>
              </a:rPr>
              <a:t>OWASP ASVS Level 3</a:t>
            </a:r>
          </a:p>
        </p:txBody>
      </p:sp>
      <p:sp>
        <p:nvSpPr>
          <p:cNvPr id="14" name="Title 4"/>
          <p:cNvSpPr txBox="1">
            <a:spLocks/>
          </p:cNvSpPr>
          <p:nvPr/>
        </p:nvSpPr>
        <p:spPr>
          <a:xfrm>
            <a:off x="4658491" y="4678921"/>
            <a:ext cx="2194658" cy="34426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85000" lnSpcReduction="10000"/>
          </a:bodyPr>
          <a:lstStyle>
            <a:lvl1pPr algn="l" defTabSz="685800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3"/>
                </a:solidFill>
              </a:rPr>
              <a:t>OWASP ASVS Level 2</a:t>
            </a:r>
          </a:p>
        </p:txBody>
      </p:sp>
    </p:spTree>
    <p:extLst>
      <p:ext uri="{BB962C8B-B14F-4D97-AF65-F5344CB8AC3E}">
        <p14:creationId xmlns:p14="http://schemas.microsoft.com/office/powerpoint/2010/main" val="52803703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9E9E667E-D66B-4499-8A26-A8F00B143C3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>
                                            <p:graphicEl>
                                              <a:dgm id="{9E9E667E-D66B-4499-8A26-A8F00B143C3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>
                                            <p:graphicEl>
                                              <a:dgm id="{9E9E667E-D66B-4499-8A26-A8F00B143C3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>
                                            <p:graphicEl>
                                              <a:dgm id="{9E9E667E-D66B-4499-8A26-A8F00B143C3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D55AE418-C6E8-4E53-B7E1-7D143A6EB30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>
                                            <p:graphicEl>
                                              <a:dgm id="{D55AE418-C6E8-4E53-B7E1-7D143A6EB30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>
                                            <p:graphicEl>
                                              <a:dgm id="{D55AE418-C6E8-4E53-B7E1-7D143A6EB30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>
                                            <p:graphicEl>
                                              <a:dgm id="{D55AE418-C6E8-4E53-B7E1-7D143A6EB30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452A2050-6D64-4E58-9BA9-40F05C6B08B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>
                                            <p:graphicEl>
                                              <a:dgm id="{452A2050-6D64-4E58-9BA9-40F05C6B08B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>
                                            <p:graphicEl>
                                              <a:dgm id="{452A2050-6D64-4E58-9BA9-40F05C6B08B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>
                                            <p:graphicEl>
                                              <a:dgm id="{452A2050-6D64-4E58-9BA9-40F05C6B08B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01C1D765-8244-46FB-8870-71D90966AD9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graphicEl>
                                              <a:dgm id="{01C1D765-8244-46FB-8870-71D90966AD9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graphicEl>
                                              <a:dgm id="{01C1D765-8244-46FB-8870-71D90966AD9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graphicEl>
                                              <a:dgm id="{01C1D765-8244-46FB-8870-71D90966AD9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3D78ADA2-272D-411C-B2B6-13D382D3CD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graphicEl>
                                              <a:dgm id="{3D78ADA2-272D-411C-B2B6-13D382D3CDE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graphicEl>
                                              <a:dgm id="{3D78ADA2-272D-411C-B2B6-13D382D3CD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graphicEl>
                                              <a:dgm id="{3D78ADA2-272D-411C-B2B6-13D382D3CD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EFCD26AF-3F31-489A-9E3F-A3CABBFA90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8">
                                            <p:graphicEl>
                                              <a:dgm id="{EFCD26AF-3F31-489A-9E3F-A3CABBFA907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8">
                                            <p:graphicEl>
                                              <a:dgm id="{EFCD26AF-3F31-489A-9E3F-A3CABBFA90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8">
                                            <p:graphicEl>
                                              <a:dgm id="{EFCD26AF-3F31-489A-9E3F-A3CABBFA90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E4E4779A-ABBB-49EF-9361-2A78548A1D8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8">
                                            <p:graphicEl>
                                              <a:dgm id="{E4E4779A-ABBB-49EF-9361-2A78548A1D8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8">
                                            <p:graphicEl>
                                              <a:dgm id="{E4E4779A-ABBB-49EF-9361-2A78548A1D8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8">
                                            <p:graphicEl>
                                              <a:dgm id="{E4E4779A-ABBB-49EF-9361-2A78548A1D8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2FDB4016-6281-4CE7-B22E-75ECA9F233E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8">
                                            <p:graphicEl>
                                              <a:dgm id="{2FDB4016-6281-4CE7-B22E-75ECA9F233E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8">
                                            <p:graphicEl>
                                              <a:dgm id="{2FDB4016-6281-4CE7-B22E-75ECA9F233E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8">
                                            <p:graphicEl>
                                              <a:dgm id="{2FDB4016-6281-4CE7-B22E-75ECA9F233E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AB09A056-BD57-4C41-AA5C-A916E8F541A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8">
                                            <p:graphicEl>
                                              <a:dgm id="{AB09A056-BD57-4C41-AA5C-A916E8F541A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8">
                                            <p:graphicEl>
                                              <a:dgm id="{AB09A056-BD57-4C41-AA5C-A916E8F541A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8">
                                            <p:graphicEl>
                                              <a:dgm id="{AB09A056-BD57-4C41-AA5C-A916E8F541A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CA0EE14C-E0CE-4B0E-92CE-1B9624A2E0B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8">
                                            <p:graphicEl>
                                              <a:dgm id="{CA0EE14C-E0CE-4B0E-92CE-1B9624A2E0B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8">
                                            <p:graphicEl>
                                              <a:dgm id="{CA0EE14C-E0CE-4B0E-92CE-1B9624A2E0B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8">
                                            <p:graphicEl>
                                              <a:dgm id="{CA0EE14C-E0CE-4B0E-92CE-1B9624A2E0B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dgm id="{AD7350AB-7EB9-4720-905E-853297AC3C7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8">
                                            <p:graphicEl>
                                              <a:dgm id="{AD7350AB-7EB9-4720-905E-853297AC3C7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8">
                                            <p:graphicEl>
                                              <a:dgm id="{AD7350AB-7EB9-4720-905E-853297AC3C7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8">
                                            <p:graphicEl>
                                              <a:dgm id="{AD7350AB-7EB9-4720-905E-853297AC3C7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 uiExpand="1">
        <p:bldSub>
          <a:bldDgm bld="one"/>
        </p:bldSub>
      </p:bldGraphic>
      <p:bldP spid="13" grpId="0"/>
      <p:bldP spid="1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Application Life Cycle</a:t>
            </a: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566638245"/>
              </p:ext>
            </p:extLst>
          </p:nvPr>
        </p:nvGraphicFramePr>
        <p:xfrm>
          <a:off x="1200720" y="60287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41824540"/>
      </p:ext>
    </p:extLst>
  </p:cSld>
  <p:clrMapOvr>
    <a:masterClrMapping/>
  </p:clrMapOvr>
  <p:transition spd="slow">
    <p:wip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35</a:t>
            </a:fld>
            <a:endParaRPr lang="en-GB" dirty="0"/>
          </a:p>
        </p:txBody>
      </p:sp>
      <p:pic>
        <p:nvPicPr>
          <p:cNvPr id="9222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67654" y="2829373"/>
            <a:ext cx="2715751" cy="957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3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04691" y="1216008"/>
            <a:ext cx="3455346" cy="12686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/>
        </p:nvSpPr>
        <p:spPr>
          <a:xfrm>
            <a:off x="4876800" y="406400"/>
            <a:ext cx="4049485" cy="4044951"/>
          </a:xfrm>
          <a:prstGeom prst="rect">
            <a:avLst/>
          </a:prstGeom>
          <a:solidFill>
            <a:srgbClr val="E6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b-NO" sz="1400">
              <a:solidFill>
                <a:schemeClr val="tx2"/>
              </a:solidFill>
            </a:endParaRPr>
          </a:p>
        </p:txBody>
      </p:sp>
      <p:sp>
        <p:nvSpPr>
          <p:cNvPr id="7" name="Content Placeholder 8"/>
          <p:cNvSpPr>
            <a:spLocks noGrp="1"/>
          </p:cNvSpPr>
          <p:nvPr>
            <p:ph idx="4294967295"/>
          </p:nvPr>
        </p:nvSpPr>
        <p:spPr>
          <a:xfrm>
            <a:off x="4923062" y="926013"/>
            <a:ext cx="3852482" cy="3525337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endParaRPr lang="en-GB" sz="1400" dirty="0"/>
          </a:p>
          <a:p>
            <a:endParaRPr lang="en-GB" sz="1400" dirty="0"/>
          </a:p>
          <a:p>
            <a:pPr marL="0" indent="0">
              <a:buNone/>
            </a:pPr>
            <a:endParaRPr lang="en-GB" sz="1400" dirty="0"/>
          </a:p>
        </p:txBody>
      </p:sp>
      <p:sp>
        <p:nvSpPr>
          <p:cNvPr id="8" name="Content Placeholder 4"/>
          <p:cNvSpPr>
            <a:spLocks noGrp="1"/>
          </p:cNvSpPr>
          <p:nvPr>
            <p:ph idx="20"/>
          </p:nvPr>
        </p:nvSpPr>
        <p:spPr>
          <a:xfrm>
            <a:off x="5053951" y="485647"/>
            <a:ext cx="3193404" cy="3965703"/>
          </a:xfrm>
        </p:spPr>
        <p:txBody>
          <a:bodyPr>
            <a:noAutofit/>
          </a:bodyPr>
          <a:lstStyle/>
          <a:p>
            <a:pPr marL="0" indent="0">
              <a:spcAft>
                <a:spcPts val="600"/>
              </a:spcAft>
              <a:buNone/>
            </a:pPr>
            <a:endParaRPr lang="en-US" sz="1600" b="1" dirty="0"/>
          </a:p>
          <a:p>
            <a:pPr marL="0" indent="0">
              <a:spcAft>
                <a:spcPts val="600"/>
              </a:spcAft>
              <a:buNone/>
            </a:pPr>
            <a:r>
              <a:rPr lang="en-US" sz="1600" b="1" dirty="0"/>
              <a:t>Summary </a:t>
            </a:r>
          </a:p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GB" sz="1400" dirty="0"/>
              <a:t>PCI DSS is a good starting point for any infrastructure</a:t>
            </a:r>
          </a:p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GB" sz="1400" dirty="0"/>
              <a:t>OWASP ASVS is a flexible standard with minimal effort for adaptation</a:t>
            </a:r>
          </a:p>
          <a:p>
            <a:pPr>
              <a:lnSpc>
                <a:spcPct val="100000"/>
              </a:lnSpc>
              <a:spcBef>
                <a:spcPts val="800"/>
              </a:spcBef>
            </a:pPr>
            <a:r>
              <a:rPr lang="en-GB" sz="1400" dirty="0"/>
              <a:t>For a stable security development lifecycle the following should be implemented</a:t>
            </a:r>
          </a:p>
          <a:p>
            <a:pPr lvl="1">
              <a:lnSpc>
                <a:spcPct val="100000"/>
              </a:lnSpc>
              <a:spcBef>
                <a:spcPts val="800"/>
              </a:spcBef>
            </a:pPr>
            <a:r>
              <a:rPr lang="en-GB" sz="1200" dirty="0"/>
              <a:t>Standard operation procedures</a:t>
            </a:r>
          </a:p>
          <a:p>
            <a:pPr lvl="1">
              <a:lnSpc>
                <a:spcPct val="100000"/>
              </a:lnSpc>
              <a:spcBef>
                <a:spcPts val="800"/>
              </a:spcBef>
            </a:pPr>
            <a:r>
              <a:rPr lang="en-GB" sz="1200" dirty="0"/>
              <a:t>Methodology for security testing</a:t>
            </a:r>
          </a:p>
          <a:p>
            <a:pPr lvl="1">
              <a:lnSpc>
                <a:spcPct val="100000"/>
              </a:lnSpc>
              <a:spcBef>
                <a:spcPts val="800"/>
              </a:spcBef>
            </a:pPr>
            <a:r>
              <a:rPr lang="en-GB" sz="1200" dirty="0"/>
              <a:t>Security risk assessment</a:t>
            </a:r>
          </a:p>
          <a:p>
            <a:pPr lvl="1">
              <a:lnSpc>
                <a:spcPct val="100000"/>
              </a:lnSpc>
              <a:spcBef>
                <a:spcPts val="800"/>
              </a:spcBef>
            </a:pPr>
            <a:r>
              <a:rPr lang="en-GB" sz="1200" dirty="0"/>
              <a:t>Role descriptions</a:t>
            </a:r>
          </a:p>
          <a:p>
            <a:pPr lvl="1">
              <a:lnSpc>
                <a:spcPct val="100000"/>
              </a:lnSpc>
              <a:spcBef>
                <a:spcPts val="800"/>
              </a:spcBef>
            </a:pPr>
            <a:r>
              <a:rPr lang="en-GB" sz="1200" dirty="0"/>
              <a:t>General compliance level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30" r="5833"/>
          <a:stretch/>
        </p:blipFill>
        <p:spPr>
          <a:xfrm>
            <a:off x="176880" y="406400"/>
            <a:ext cx="4549179" cy="4044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417625"/>
      </p:ext>
    </p:extLst>
  </p:cSld>
  <p:clrMapOvr>
    <a:masterClrMapping/>
  </p:clrMapOvr>
  <p:transition spd="slow">
    <p:wip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0" y="4765675"/>
            <a:ext cx="3671888" cy="92075"/>
          </a:xfrm>
        </p:spPr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4765675"/>
            <a:ext cx="180975" cy="92075"/>
          </a:xfrm>
        </p:spPr>
        <p:txBody>
          <a:bodyPr/>
          <a:lstStyle/>
          <a:p>
            <a:fld id="{7766E8B7-50FC-48D4-B5AD-275A23A4E856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8897168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0681" y="267530"/>
            <a:ext cx="3851932" cy="1000274"/>
          </a:xfrm>
        </p:spPr>
        <p:txBody>
          <a:bodyPr/>
          <a:lstStyle/>
          <a:p>
            <a:r>
              <a:rPr lang="en-US" dirty="0"/>
              <a:t>Who am I?</a:t>
            </a:r>
          </a:p>
        </p:txBody>
      </p: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867160902"/>
              </p:ext>
            </p:extLst>
          </p:nvPr>
        </p:nvGraphicFramePr>
        <p:xfrm>
          <a:off x="332182" y="743850"/>
          <a:ext cx="6283364" cy="37060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3" name="Picture 12" descr="campaign2013_sign_20.jpg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" t="19051" r="-267" b="11329"/>
          <a:stretch/>
        </p:blipFill>
        <p:spPr>
          <a:xfrm>
            <a:off x="4524098" y="155834"/>
            <a:ext cx="4113305" cy="429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1075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8" name="Group 558"/>
          <p:cNvGrpSpPr/>
          <p:nvPr/>
        </p:nvGrpSpPr>
        <p:grpSpPr>
          <a:xfrm>
            <a:off x="4690669" y="290772"/>
            <a:ext cx="3673915" cy="4212706"/>
            <a:chOff x="0" y="0"/>
            <a:chExt cx="9797106" cy="11233881"/>
          </a:xfrm>
        </p:grpSpPr>
        <p:pic>
          <p:nvPicPr>
            <p:cNvPr id="555" name="image21.pn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8795676" cy="1123388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556" name="Shape 556"/>
            <p:cNvSpPr/>
            <p:nvPr/>
          </p:nvSpPr>
          <p:spPr>
            <a:xfrm>
              <a:off x="6629638" y="9080579"/>
              <a:ext cx="291335" cy="291329"/>
            </a:xfrm>
            <a:prstGeom prst="ellipse">
              <a:avLst/>
            </a:prstGeom>
            <a:solidFill>
              <a:srgbClr val="03C7C8"/>
            </a:solidFill>
            <a:ln w="12700" cap="flat">
              <a:noFill/>
              <a:miter lim="400000"/>
            </a:ln>
            <a:effectLst/>
          </p:spPr>
          <p:txBody>
            <a:bodyPr wrap="square" lIns="45720" tIns="45720" rIns="45720" bIns="45720" numCol="1" anchor="ctr">
              <a:noAutofit/>
            </a:bodyPr>
            <a:lstStyle/>
            <a:p>
              <a:pPr indent="1588" algn="ctr">
                <a:spcBef>
                  <a:spcPts val="600"/>
                </a:spcBef>
                <a:defRPr sz="2800">
                  <a:solidFill>
                    <a:srgbClr val="FFFFFF"/>
                  </a:solidFill>
                </a:defRPr>
              </a:pPr>
              <a:endParaRPr sz="1050"/>
            </a:p>
          </p:txBody>
        </p:sp>
        <p:sp>
          <p:nvSpPr>
            <p:cNvPr id="557" name="Shape 557"/>
            <p:cNvSpPr/>
            <p:nvPr/>
          </p:nvSpPr>
          <p:spPr>
            <a:xfrm>
              <a:off x="6944637" y="8975164"/>
              <a:ext cx="2852469" cy="553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20" tIns="45720" rIns="45720" bIns="45720" numCol="1" anchor="t">
              <a:spAutoFit/>
            </a:bodyPr>
            <a:lstStyle>
              <a:lvl1pPr defTabSz="1828800">
                <a:defRPr sz="2000">
                  <a:solidFill>
                    <a:srgbClr val="376076"/>
                  </a:solidFill>
                </a:defRPr>
              </a:lvl1pPr>
            </a:lstStyle>
            <a:p>
              <a:r>
                <a:rPr sz="750" dirty="0">
                  <a:latin typeface="Arial" charset="0"/>
                  <a:ea typeface="Arial" charset="0"/>
                  <a:cs typeface="Arial" charset="0"/>
                </a:rPr>
                <a:t>100+ employees</a:t>
              </a:r>
            </a:p>
          </p:txBody>
        </p:sp>
      </p:grpSp>
      <p:sp>
        <p:nvSpPr>
          <p:cNvPr id="559" name="Shape 559"/>
          <p:cNvSpPr/>
          <p:nvPr/>
        </p:nvSpPr>
        <p:spPr>
          <a:xfrm>
            <a:off x="755109" y="1598288"/>
            <a:ext cx="3673914" cy="6694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20" tIns="45720" rIns="45720" bIns="45720">
            <a:spAutoFit/>
          </a:bodyPr>
          <a:lstStyle/>
          <a:p>
            <a:pPr marL="96603" indent="-92436" defTabSz="685800">
              <a:lnSpc>
                <a:spcPts val="1500"/>
              </a:lnSpc>
              <a:buSzPct val="100000"/>
              <a:buFont typeface="Arial"/>
              <a:buChar char="•"/>
              <a:defRPr sz="2800">
                <a:solidFill>
                  <a:schemeClr val="accent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1050" dirty="0">
                <a:latin typeface="Arial" charset="0"/>
                <a:ea typeface="Arial" charset="0"/>
                <a:cs typeface="Arial" charset="0"/>
              </a:rPr>
              <a:t>50 towns and cities with capacity to deliver</a:t>
            </a:r>
            <a:endParaRPr sz="1275" dirty="0">
              <a:latin typeface="Arial" charset="0"/>
              <a:ea typeface="Arial" charset="0"/>
              <a:cs typeface="Arial" charset="0"/>
            </a:endParaRPr>
          </a:p>
          <a:p>
            <a:pPr marL="96603" indent="-92436" defTabSz="685800">
              <a:lnSpc>
                <a:spcPts val="1500"/>
              </a:lnSpc>
              <a:buSzPct val="100000"/>
              <a:buFont typeface="Arial"/>
              <a:buChar char="•"/>
              <a:defRPr sz="2800" spc="-25">
                <a:solidFill>
                  <a:schemeClr val="accent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1050" dirty="0">
                <a:latin typeface="Arial" charset="0"/>
                <a:ea typeface="Arial" charset="0"/>
                <a:cs typeface="Arial" charset="0"/>
              </a:rPr>
              <a:t>11 regional offices with specialist competencies </a:t>
            </a:r>
          </a:p>
          <a:p>
            <a:pPr marL="96603" indent="-92436" defTabSz="685800">
              <a:lnSpc>
                <a:spcPts val="1500"/>
              </a:lnSpc>
              <a:buSzPct val="100000"/>
              <a:buFont typeface="Arial"/>
              <a:buChar char="•"/>
              <a:defRPr sz="2800">
                <a:solidFill>
                  <a:schemeClr val="accent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1050" spc="-9" dirty="0">
                <a:latin typeface="Arial" charset="0"/>
                <a:ea typeface="Arial" charset="0"/>
                <a:cs typeface="Arial" charset="0"/>
              </a:rPr>
              <a:t>1</a:t>
            </a:r>
            <a:r>
              <a:rPr sz="1050" dirty="0">
                <a:latin typeface="Arial" charset="0"/>
                <a:ea typeface="Arial" charset="0"/>
                <a:cs typeface="Arial" charset="0"/>
              </a:rPr>
              <a:t>0.000 employees</a:t>
            </a:r>
          </a:p>
        </p:txBody>
      </p:sp>
      <p:sp>
        <p:nvSpPr>
          <p:cNvPr id="560" name="Shape 560"/>
          <p:cNvSpPr/>
          <p:nvPr/>
        </p:nvSpPr>
        <p:spPr>
          <a:xfrm>
            <a:off x="755109" y="852495"/>
            <a:ext cx="3013416" cy="6238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/>
          <a:p>
            <a:pPr>
              <a:lnSpc>
                <a:spcPts val="3000"/>
              </a:lnSpc>
              <a:defRPr sz="8000">
                <a:solidFill>
                  <a:schemeClr val="accent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3000" dirty="0">
                <a:latin typeface="Arial" charset="0"/>
                <a:ea typeface="Arial" charset="0"/>
                <a:cs typeface="Arial" charset="0"/>
              </a:rPr>
              <a:t>EVRY</a:t>
            </a:r>
          </a:p>
          <a:p>
            <a:pPr>
              <a:lnSpc>
                <a:spcPts val="1575"/>
              </a:lnSpc>
              <a:defRPr sz="4200">
                <a:solidFill>
                  <a:schemeClr val="accent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sz="1575" dirty="0">
                <a:latin typeface="Arial" charset="0"/>
                <a:ea typeface="Arial" charset="0"/>
                <a:cs typeface="Arial" charset="0"/>
              </a:rPr>
              <a:t>– Nordic Champion</a:t>
            </a:r>
          </a:p>
        </p:txBody>
      </p:sp>
      <p:sp>
        <p:nvSpPr>
          <p:cNvPr id="561" name="Shape 561"/>
          <p:cNvSpPr/>
          <p:nvPr/>
        </p:nvSpPr>
        <p:spPr>
          <a:xfrm>
            <a:off x="786416" y="2561516"/>
            <a:ext cx="707969" cy="2884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0" tIns="0" rIns="0" bIns="0" anchor="b" anchorCtr="0">
            <a:noAutofit/>
          </a:bodyPr>
          <a:lstStyle>
            <a:lvl1pPr algn="ctr">
              <a:lnSpc>
                <a:spcPts val="4200"/>
              </a:lnSpc>
              <a:defRPr sz="4200">
                <a:solidFill>
                  <a:schemeClr val="accent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sz="1575" dirty="0">
                <a:latin typeface="Arial" charset="0"/>
                <a:ea typeface="Arial" charset="0"/>
                <a:cs typeface="Arial" charset="0"/>
              </a:rPr>
              <a:t>Women</a:t>
            </a:r>
          </a:p>
        </p:txBody>
      </p:sp>
      <p:sp>
        <p:nvSpPr>
          <p:cNvPr id="562" name="Shape 562"/>
          <p:cNvSpPr/>
          <p:nvPr/>
        </p:nvSpPr>
        <p:spPr>
          <a:xfrm>
            <a:off x="776565" y="3627385"/>
            <a:ext cx="707969" cy="326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/>
          <a:p>
            <a:pPr algn="ctr">
              <a:lnSpc>
                <a:spcPts val="2625"/>
              </a:lnSpc>
              <a:defRPr sz="7000">
                <a:solidFill>
                  <a:schemeClr val="accent1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r>
              <a:rPr sz="2625" dirty="0">
                <a:latin typeface="Arial" charset="0"/>
                <a:ea typeface="Arial" charset="0"/>
                <a:cs typeface="Arial" charset="0"/>
              </a:rPr>
              <a:t>26</a:t>
            </a:r>
            <a:r>
              <a:rPr sz="1575" dirty="0">
                <a:latin typeface="Arial" charset="0"/>
                <a:ea typeface="Arial" charset="0"/>
                <a:cs typeface="Arial" charset="0"/>
              </a:rPr>
              <a:t>%</a:t>
            </a:r>
          </a:p>
        </p:txBody>
      </p:sp>
      <p:sp>
        <p:nvSpPr>
          <p:cNvPr id="563" name="Shape 563"/>
          <p:cNvSpPr/>
          <p:nvPr/>
        </p:nvSpPr>
        <p:spPr>
          <a:xfrm>
            <a:off x="1955457" y="2559093"/>
            <a:ext cx="707969" cy="2908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0" tIns="0" rIns="0" bIns="0" anchor="b" anchorCtr="0">
            <a:noAutofit/>
          </a:bodyPr>
          <a:lstStyle>
            <a:lvl1pPr algn="ctr">
              <a:lnSpc>
                <a:spcPts val="4200"/>
              </a:lnSpc>
              <a:defRPr sz="4200">
                <a:solidFill>
                  <a:schemeClr val="accent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sz="1575" dirty="0">
                <a:latin typeface="Arial" charset="0"/>
                <a:ea typeface="Arial" charset="0"/>
                <a:cs typeface="Arial" charset="0"/>
              </a:rPr>
              <a:t>Age</a:t>
            </a:r>
          </a:p>
        </p:txBody>
      </p:sp>
      <p:sp>
        <p:nvSpPr>
          <p:cNvPr id="564" name="Shape 564"/>
          <p:cNvSpPr/>
          <p:nvPr/>
        </p:nvSpPr>
        <p:spPr>
          <a:xfrm>
            <a:off x="1862579" y="3627385"/>
            <a:ext cx="893726" cy="326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/>
          <a:p>
            <a:pPr algn="ctr">
              <a:lnSpc>
                <a:spcPts val="2625"/>
              </a:lnSpc>
              <a:defRPr sz="7000">
                <a:solidFill>
                  <a:schemeClr val="accent1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r>
              <a:rPr sz="2625">
                <a:latin typeface="Arial" charset="0"/>
                <a:ea typeface="Arial" charset="0"/>
                <a:cs typeface="Arial" charset="0"/>
              </a:rPr>
              <a:t>39</a:t>
            </a:r>
            <a:r>
              <a:rPr sz="1575">
                <a:latin typeface="Arial" charset="0"/>
                <a:ea typeface="Arial" charset="0"/>
                <a:cs typeface="Arial" charset="0"/>
              </a:rPr>
              <a:t>yrs</a:t>
            </a:r>
          </a:p>
        </p:txBody>
      </p:sp>
      <p:sp>
        <p:nvSpPr>
          <p:cNvPr id="565" name="Shape 565"/>
          <p:cNvSpPr/>
          <p:nvPr/>
        </p:nvSpPr>
        <p:spPr>
          <a:xfrm>
            <a:off x="2977806" y="2559093"/>
            <a:ext cx="1030545" cy="2908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0" tIns="0" rIns="0" bIns="0" anchor="b" anchorCtr="0">
            <a:noAutofit/>
          </a:bodyPr>
          <a:lstStyle>
            <a:lvl1pPr algn="ctr">
              <a:lnSpc>
                <a:spcPts val="4200"/>
              </a:lnSpc>
              <a:defRPr sz="4200">
                <a:solidFill>
                  <a:schemeClr val="accent1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sz="1575">
                <a:latin typeface="Arial" charset="0"/>
                <a:ea typeface="Arial" charset="0"/>
                <a:cs typeface="Arial" charset="0"/>
              </a:rPr>
              <a:t>Universum</a:t>
            </a:r>
          </a:p>
        </p:txBody>
      </p:sp>
      <p:sp>
        <p:nvSpPr>
          <p:cNvPr id="566" name="Shape 566"/>
          <p:cNvSpPr/>
          <p:nvPr/>
        </p:nvSpPr>
        <p:spPr>
          <a:xfrm>
            <a:off x="3024794" y="3627385"/>
            <a:ext cx="893726" cy="326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/>
          <a:p>
            <a:pPr algn="ctr">
              <a:lnSpc>
                <a:spcPts val="2625"/>
              </a:lnSpc>
              <a:defRPr sz="7000">
                <a:solidFill>
                  <a:schemeClr val="accent1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r>
              <a:rPr sz="1575">
                <a:latin typeface="Arial" charset="0"/>
                <a:ea typeface="Arial" charset="0"/>
                <a:cs typeface="Arial" charset="0"/>
              </a:rPr>
              <a:t>#</a:t>
            </a:r>
            <a:r>
              <a:rPr sz="2625">
                <a:latin typeface="Arial" charset="0"/>
                <a:ea typeface="Arial" charset="0"/>
                <a:cs typeface="Arial" charset="0"/>
              </a:rPr>
              <a:t>4</a:t>
            </a:r>
          </a:p>
        </p:txBody>
      </p:sp>
      <p:pic>
        <p:nvPicPr>
          <p:cNvPr id="567" name="image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9201" y="4683600"/>
            <a:ext cx="523727" cy="278490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018" y="2934306"/>
            <a:ext cx="571544" cy="58940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3121" y="2946214"/>
            <a:ext cx="756105" cy="56559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5716" y="2996819"/>
            <a:ext cx="833501" cy="512008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alphaModFix amt="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9864" y="1982353"/>
            <a:ext cx="594559" cy="316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820505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400" dirty="0"/>
              <a:t>EVRY GROUP - Geographic distribution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45443" y="1039813"/>
            <a:ext cx="8064181" cy="232446"/>
            <a:chOff x="545443" y="1039813"/>
            <a:chExt cx="8064181" cy="232446"/>
          </a:xfrm>
          <a:gradFill>
            <a:gsLst>
              <a:gs pos="0">
                <a:schemeClr val="accent4"/>
              </a:gs>
              <a:gs pos="100000">
                <a:schemeClr val="accent5"/>
              </a:gs>
            </a:gsLst>
            <a:lin ang="0" scaled="0"/>
          </a:gradFill>
        </p:grpSpPr>
        <p:sp>
          <p:nvSpPr>
            <p:cNvPr id="16" name="TextBox 15"/>
            <p:cNvSpPr txBox="1"/>
            <p:nvPr/>
          </p:nvSpPr>
          <p:spPr>
            <a:xfrm>
              <a:off x="545443" y="1039813"/>
              <a:ext cx="3851932" cy="232446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noAutofit/>
            </a:bodyPr>
            <a:lstStyle/>
            <a:p>
              <a:pPr marL="36000">
                <a:lnSpc>
                  <a:spcPts val="1800"/>
                </a:lnSpc>
              </a:pPr>
              <a:r>
                <a:rPr kumimoji="0" lang="en-US" sz="1050" b="1" i="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Nordics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757692" y="1039813"/>
              <a:ext cx="3851932" cy="232446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noAutofit/>
            </a:bodyPr>
            <a:lstStyle/>
            <a:p>
              <a:pPr marL="36000">
                <a:lnSpc>
                  <a:spcPts val="1800"/>
                </a:lnSpc>
              </a:pPr>
              <a:r>
                <a:rPr kumimoji="0" lang="en-US" sz="1050" b="1" i="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Rest of the World (Global Delivery)</a:t>
              </a:r>
            </a:p>
          </p:txBody>
        </p:sp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636" y="1272259"/>
            <a:ext cx="3328293" cy="322447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7635" y="1272259"/>
            <a:ext cx="3261849" cy="3174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691583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6630" y="158889"/>
            <a:ext cx="4150465" cy="500137"/>
          </a:xfrm>
        </p:spPr>
        <p:txBody>
          <a:bodyPr/>
          <a:lstStyle/>
          <a:p>
            <a:r>
              <a:rPr lang="en-GB" dirty="0"/>
              <a:t>NFT Department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484934466"/>
              </p:ext>
            </p:extLst>
          </p:nvPr>
        </p:nvGraphicFramePr>
        <p:xfrm>
          <a:off x="810110" y="582826"/>
          <a:ext cx="7357145" cy="38104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26811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3">
                                            <p:graphicEl>
                                              <a:dgm id="{ACB3DFCF-00BF-4285-A982-C2A0CA69C802}"/>
                                            </p:graphicEl>
                                          </p:spTgt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 uiExpand="1">
        <p:bldSub>
          <a:bldDgm bld="one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5580062" y="378366"/>
            <a:ext cx="3024183" cy="153888"/>
          </a:xfrm>
        </p:spPr>
        <p:txBody>
          <a:bodyPr/>
          <a:lstStyle/>
          <a:p>
            <a:r>
              <a:rPr lang="en-US" dirty="0"/>
              <a:t>Chapter I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OWASP ASVS?</a:t>
            </a:r>
          </a:p>
        </p:txBody>
      </p:sp>
    </p:spTree>
    <p:extLst>
      <p:ext uri="{BB962C8B-B14F-4D97-AF65-F5344CB8AC3E}">
        <p14:creationId xmlns:p14="http://schemas.microsoft.com/office/powerpoint/2010/main" val="1994404942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6E8B7-50FC-48D4-B5AD-275A23A4E856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46677" y="376238"/>
            <a:ext cx="3852863" cy="1002402"/>
          </a:xfrm>
        </p:spPr>
        <p:txBody>
          <a:bodyPr/>
          <a:lstStyle/>
          <a:p>
            <a:r>
              <a:rPr lang="en-US" dirty="0"/>
              <a:t>PCI DSS Requirement 11.3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9"/>
          </p:nvPr>
        </p:nvPicPr>
        <p:blipFill>
          <a:blip r:embed="rId2"/>
          <a:stretch>
            <a:fillRect/>
          </a:stretch>
        </p:blipFill>
        <p:spPr>
          <a:xfrm>
            <a:off x="539999" y="877439"/>
            <a:ext cx="3089891" cy="36583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2745" y="376238"/>
            <a:ext cx="3535237" cy="410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96041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ry_PPT_02.03">
  <a:themeElements>
    <a:clrScheme name="Evry">
      <a:dk1>
        <a:sysClr val="windowText" lastClr="000000"/>
      </a:dk1>
      <a:lt1>
        <a:sysClr val="window" lastClr="FFFFFF"/>
      </a:lt1>
      <a:dk2>
        <a:srgbClr val="376076"/>
      </a:dk2>
      <a:lt2>
        <a:srgbClr val="9BAFBA"/>
      </a:lt2>
      <a:accent1>
        <a:srgbClr val="063954"/>
      </a:accent1>
      <a:accent2>
        <a:srgbClr val="FF9800"/>
      </a:accent2>
      <a:accent3>
        <a:srgbClr val="F52882"/>
      </a:accent3>
      <a:accent4>
        <a:srgbClr val="7028B7"/>
      </a:accent4>
      <a:accent5>
        <a:srgbClr val="00C8C8"/>
      </a:accent5>
      <a:accent6>
        <a:srgbClr val="7F7F7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6EBEE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rmAutofit/>
      </a:bodyPr>
      <a:lstStyle>
        <a:defPPr>
          <a:lnSpc>
            <a:spcPts val="1800"/>
          </a:lnSpc>
          <a:defRPr kumimoji="0" sz="1300" b="0" i="0" u="none" strike="noStrike" kern="1200" cap="none" spc="0" normalizeH="0" baseline="0" dirty="0" err="1" smtClean="0">
            <a:ln>
              <a:noFill/>
            </a:ln>
            <a:solidFill>
              <a:srgbClr val="376076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vry_PPT_02.03.potx" id="{07CF1464-7938-4736-B070-4BF8922AA149}" vid="{DA6C9283-C7F0-4E80-AE6D-604D1D8CFBB4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9B9A53CECCCA94794FF683BC2F178CC" ma:contentTypeVersion="1" ma:contentTypeDescription="Create a new document." ma:contentTypeScope="" ma:versionID="7e179255649bdb9c4e7454e8b1e284bb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F3E2ABB7-60FB-40A9-951D-B67DD96C65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5D0295B-8834-44D9-95B9-DCC0EAAC46A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0C652DE-BEE5-40DC-BCB7-C08FFC670E2D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vry_PPT</Template>
  <TotalTime>4167</TotalTime>
  <Words>895</Words>
  <Application>Microsoft Office PowerPoint</Application>
  <PresentationFormat>On-screen Show (16:9)</PresentationFormat>
  <Paragraphs>283</Paragraphs>
  <Slides>3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5" baseType="lpstr">
      <vt:lpstr>Arial</vt:lpstr>
      <vt:lpstr>Calibri</vt:lpstr>
      <vt:lpstr>Courier New</vt:lpstr>
      <vt:lpstr>Helvetica Neue</vt:lpstr>
      <vt:lpstr>Helvetica Neue Light</vt:lpstr>
      <vt:lpstr>Helvetica Neue Thin</vt:lpstr>
      <vt:lpstr>Trebuchet MS</vt:lpstr>
      <vt:lpstr>Evry_PPT_02.03</vt:lpstr>
      <vt:lpstr>think-cell Slide</vt:lpstr>
      <vt:lpstr>OWASP ASVS for NFTaaS in Financial Services  </vt:lpstr>
      <vt:lpstr>Agenda</vt:lpstr>
      <vt:lpstr>Brief Introduction</vt:lpstr>
      <vt:lpstr>Who am I?</vt:lpstr>
      <vt:lpstr>PowerPoint Presentation</vt:lpstr>
      <vt:lpstr>EVRY GROUP - Geographic distribution</vt:lpstr>
      <vt:lpstr>NFT Department</vt:lpstr>
      <vt:lpstr>Why OWASP ASVS?</vt:lpstr>
      <vt:lpstr>PCI DSS Requirement 11.3</vt:lpstr>
      <vt:lpstr>PowerPoint Presentation</vt:lpstr>
      <vt:lpstr>NIST SP 800-115: Appendix C - Application Security Testing and Examination</vt:lpstr>
      <vt:lpstr>NIST SP 800-115: Appendix E - Table E-2. Online Resources</vt:lpstr>
      <vt:lpstr>PCI DSS Penetration Testing - Summary</vt:lpstr>
      <vt:lpstr>OWASP Testing Guide (from PCI Pentest Guide)</vt:lpstr>
      <vt:lpstr>OWASP Top 10 2013 vs PCI DSS</vt:lpstr>
      <vt:lpstr>OWASP Application Security Verification Standard (ASVS)</vt:lpstr>
      <vt:lpstr>PowerPoint Presentation</vt:lpstr>
      <vt:lpstr>OWAS ASVS Verification Controls (v3.0.1)</vt:lpstr>
      <vt:lpstr>OWASP ASVS: Standards Mappings</vt:lpstr>
      <vt:lpstr>Relation Between Requirements</vt:lpstr>
      <vt:lpstr>Scope for pentesting of web applications</vt:lpstr>
      <vt:lpstr>OWAS ASVS in Practice</vt:lpstr>
      <vt:lpstr>OWAS ASVS Verification Controls</vt:lpstr>
      <vt:lpstr>OWAS ASVS Verification Controls (v3.0.1)</vt:lpstr>
      <vt:lpstr>OWASP ASVS Levels</vt:lpstr>
      <vt:lpstr>An Issue With Level Definition</vt:lpstr>
      <vt:lpstr>Relation Between Project and NFT</vt:lpstr>
      <vt:lpstr>Compliance Selection at Financial Services</vt:lpstr>
      <vt:lpstr>PowerPoint Presentation</vt:lpstr>
      <vt:lpstr>Authentication in Cardholder Client (CHC) Using LoginService2 (LS2)</vt:lpstr>
      <vt:lpstr>LoginService2</vt:lpstr>
      <vt:lpstr>Cardholder Client</vt:lpstr>
      <vt:lpstr>General Information on LS2 and CHC</vt:lpstr>
      <vt:lpstr>Security Application Life Cycl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Marius Holtmon</dc:creator>
  <dc:description>Template by officeconsult.no</dc:description>
  <cp:lastModifiedBy>Oleksandr Kazymyrov</cp:lastModifiedBy>
  <cp:revision>215</cp:revision>
  <dcterms:created xsi:type="dcterms:W3CDTF">2016-03-10T13:08:02Z</dcterms:created>
  <dcterms:modified xsi:type="dcterms:W3CDTF">2016-09-26T07:46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9B9A53CECCCA94794FF683BC2F178CC</vt:lpwstr>
  </property>
</Properties>
</file>